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ngesInfos/changesInfo1.xml" ContentType="application/vnd.ms-powerpoint.changesinfo+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handoutMasters/handoutMaster1.xml" ContentType="application/vnd.openxmlformats-officedocument.presentationml.handoutMaster+xml"/>
  <Override PartName="/ppt/media/image106.svg" ContentType="image/svg+xml"/>
  <Override PartName="/ppt/media/image108.svg" ContentType="image/svg+xml"/>
  <Override PartName="/ppt/media/image110.svg" ContentType="image/svg+xml"/>
  <Override PartName="/ppt/media/image112.svg" ContentType="image/svg+xml"/>
  <Override PartName="/ppt/media/image140.svg" ContentType="image/svg+xml"/>
  <Override PartName="/ppt/media/image142.svg" ContentType="image/svg+xml"/>
  <Override PartName="/ppt/media/image145.svg" ContentType="image/svg+xml"/>
  <Override PartName="/ppt/media/image147.svg" ContentType="image/svg+xml"/>
  <Override PartName="/ppt/media/image186.svg" ContentType="image/svg+xml"/>
  <Override PartName="/ppt/media/image77.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83" r:id="rId6"/>
  </p:sldMasterIdLst>
  <p:notesMasterIdLst>
    <p:notesMasterId r:id="rId56"/>
  </p:notesMasterIdLst>
  <p:handoutMasterIdLst>
    <p:handoutMasterId r:id="rId57"/>
  </p:handoutMasterIdLst>
  <p:sldIdLst>
    <p:sldId id="3624" r:id="rId7"/>
    <p:sldId id="3625" r:id="rId8"/>
    <p:sldId id="3626" r:id="rId9"/>
    <p:sldId id="3671" r:id="rId10"/>
    <p:sldId id="3972" r:id="rId11"/>
    <p:sldId id="3784" r:id="rId12"/>
    <p:sldId id="2147471358" r:id="rId13"/>
    <p:sldId id="2147471359" r:id="rId14"/>
    <p:sldId id="3982" r:id="rId15"/>
    <p:sldId id="2147471360" r:id="rId16"/>
    <p:sldId id="2147471376" r:id="rId17"/>
    <p:sldId id="2147471362" r:id="rId18"/>
    <p:sldId id="3785" r:id="rId19"/>
    <p:sldId id="2147471377" r:id="rId20"/>
    <p:sldId id="3977" r:id="rId21"/>
    <p:sldId id="2147471400" r:id="rId22"/>
    <p:sldId id="2147471380" r:id="rId23"/>
    <p:sldId id="2147471366" r:id="rId24"/>
    <p:sldId id="3762" r:id="rId25"/>
    <p:sldId id="3637" r:id="rId26"/>
    <p:sldId id="2147471401" r:id="rId27"/>
    <p:sldId id="3639" r:id="rId28"/>
    <p:sldId id="2147471399" r:id="rId29"/>
    <p:sldId id="2147471388" r:id="rId30"/>
    <p:sldId id="2147471389" r:id="rId31"/>
    <p:sldId id="2147471381" r:id="rId32"/>
    <p:sldId id="3662" r:id="rId33"/>
    <p:sldId id="3658" r:id="rId34"/>
    <p:sldId id="3659" r:id="rId35"/>
    <p:sldId id="3660" r:id="rId36"/>
    <p:sldId id="3661" r:id="rId37"/>
    <p:sldId id="2147471354" r:id="rId38"/>
    <p:sldId id="2147471355" r:id="rId39"/>
    <p:sldId id="2147471356" r:id="rId40"/>
    <p:sldId id="2147471357" r:id="rId41"/>
    <p:sldId id="3488" r:id="rId42"/>
    <p:sldId id="2147471352" r:id="rId43"/>
    <p:sldId id="3670" r:id="rId44"/>
    <p:sldId id="2147471353" r:id="rId45"/>
    <p:sldId id="2147471367" r:id="rId46"/>
    <p:sldId id="2147471369" r:id="rId47"/>
    <p:sldId id="2147471370" r:id="rId48"/>
    <p:sldId id="3545" r:id="rId49"/>
    <p:sldId id="2147471371" r:id="rId50"/>
    <p:sldId id="2147471372" r:id="rId51"/>
    <p:sldId id="3986" r:id="rId52"/>
    <p:sldId id="3664" r:id="rId53"/>
    <p:sldId id="3665" r:id="rId54"/>
    <p:sldId id="3816"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FC363-7C8E-9ED2-EDAB-8444EFB362CC}" name="Schuwaz Roohina" initials="SR" userId="S::schuwaz@grc360.net::3357ac64-2648-489d-86ce-b7c0fd6372b8" providerId="AD"/>
  <p188:author id="{0C8E098D-729B-ABD8-9101-63DBE6010261}" name="Salman Dastgir" initials="SD" userId="S::salman.dastgir@grc360.net::83d047dd-1445-4897-b642-a834c35f3b7b" providerId="AD"/>
  <p188:author id="{B9FC8C96-177D-8CEB-3D02-AA737FB9C437}" name="Qaiser Ijaz" initials="QI" userId="S::qaiser@grc360.net::8d024010-4d72-4c52-9997-228ecf5283ca" providerId="AD"/>
  <p188:author id="{DBFEBCB8-4EAC-4F7C-2847-4E87868E4DCE}" name="Iman Kashif" initials="IK" userId="S::iman.kashif@grc360.net::d7404cb9-92b2-4fe8-9d71-bc14b88ad833" providerId="AD"/>
  <p188:author id="{C367D2CC-6C97-68EE-222B-D2ED96236971}" name="Roshan" initials="Ro" userId="S::roshan@grc360.net::858445b3-432b-49eb-8b2e-f8caa1a2d08f" providerId="AD"/>
  <p188:author id="{97FA30FC-2856-DF41-D11B-914DB54D6D94}" name="Syeda Wafa Zainab" initials="SZ" userId="S::wafa.zainab@grc360.net::a56dfdda-2a91-4cb7-800f-6eb553d978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led AL-Najjar" initials="KA" lastIdx="1" clrIdx="0">
    <p:extLst>
      <p:ext uri="{19B8F6BF-5375-455C-9EA6-DF929625EA0E}">
        <p15:presenceInfo xmlns:p15="http://schemas.microsoft.com/office/powerpoint/2012/main" userId="1b29402f89455c8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76A"/>
    <a:srgbClr val="9B8357"/>
    <a:srgbClr val="906666"/>
    <a:srgbClr val="6D73AB"/>
    <a:srgbClr val="637052"/>
    <a:srgbClr val="94A088"/>
    <a:srgbClr val="FFFFFF"/>
    <a:srgbClr val="6E9692"/>
    <a:srgbClr val="AD953B"/>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C6553F-A922-43DD-A8C9-829775174CF8}" v="15" dt="2025-02-09T12:14:24.5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 Type="http://schemas.openxmlformats.org/officeDocument/2006/relationships/customXml" Target="../customXml/item2.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3" Type="http://schemas.openxmlformats.org/officeDocument/2006/relationships/customXml" Target="../customXml/item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 Type="http://schemas.openxmlformats.org/officeDocument/2006/relationships/slideMaster" Target="slideMasters/slideMaster1.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5" Type="http://schemas.openxmlformats.org/officeDocument/2006/relationships/slideMaster" Target="slideMasters/slideMaster2.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slide" Target="slides/slide46.xml"/><Relationship Id="rId53" Type="http://schemas.openxmlformats.org/officeDocument/2006/relationships/slide" Target="slides/slide47.xml"/><Relationship Id="rId54" Type="http://schemas.openxmlformats.org/officeDocument/2006/relationships/slide" Target="slides/slide48.xml"/><Relationship Id="rId55" Type="http://schemas.openxmlformats.org/officeDocument/2006/relationships/slide" Target="slides/slide49.xml"/><Relationship Id="rId56" Type="http://schemas.openxmlformats.org/officeDocument/2006/relationships/notesMaster" Target="notesMasters/notesMaster1.xml"/><Relationship Id="rId57" Type="http://schemas.openxmlformats.org/officeDocument/2006/relationships/handoutMaster" Target="handoutMasters/handoutMaster1.xml"/><Relationship Id="rId58" Type="http://schemas.openxmlformats.org/officeDocument/2006/relationships/commentAuthors" Target="commentAuthors.xml"/><Relationship Id="rId59" Type="http://schemas.openxmlformats.org/officeDocument/2006/relationships/presProps" Target="presProps.xml"/><Relationship Id="rId6" Type="http://schemas.openxmlformats.org/officeDocument/2006/relationships/slideMaster" Target="slideMasters/slideMaster3.xml"/><Relationship Id="rId60" Type="http://schemas.openxmlformats.org/officeDocument/2006/relationships/viewProps" Target="viewProps.xml"/><Relationship Id="rId61" Type="http://schemas.openxmlformats.org/officeDocument/2006/relationships/theme" Target="theme/theme1.xml"/><Relationship Id="rId62" Type="http://schemas.openxmlformats.org/officeDocument/2006/relationships/tableStyles" Target="tableStyles.xml"/><Relationship Id="rId63" Type="http://schemas.microsoft.com/office/2016/11/relationships/changesInfo" Target="changesInfos/changesInfo1.xml"/><Relationship Id="rId64" Type="http://schemas.microsoft.com/office/2015/10/relationships/revisionInfo" Target="revisionInfo.xml"/><Relationship Id="rId65" Type="http://schemas.microsoft.com/office/2018/10/relationships/authors" Target="authors.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 Rafay" userId="f0baa150-18fb-4df7-9589-7c96eafe2dfb" providerId="ADAL" clId="{85C6553F-A922-43DD-A8C9-829775174CF8}"/>
    <pc:docChg chg="undo custSel modSld sldOrd">
      <pc:chgData name="Abdul Rafay" userId="f0baa150-18fb-4df7-9589-7c96eafe2dfb" providerId="ADAL" clId="{85C6553F-A922-43DD-A8C9-829775174CF8}" dt="2025-02-10T06:26:39.104" v="336" actId="20577"/>
      <pc:docMkLst>
        <pc:docMk/>
      </pc:docMkLst>
      <pc:sldChg chg="ord">
        <pc:chgData name="Abdul Rafay" userId="f0baa150-18fb-4df7-9589-7c96eafe2dfb" providerId="ADAL" clId="{85C6553F-A922-43DD-A8C9-829775174CF8}" dt="2025-02-09T06:28:28.492" v="41" actId="20578"/>
        <pc:sldMkLst>
          <pc:docMk/>
          <pc:sldMk cId="1768364287" sldId="3488"/>
        </pc:sldMkLst>
      </pc:sldChg>
      <pc:sldChg chg="modSp mod">
        <pc:chgData name="Abdul Rafay" userId="f0baa150-18fb-4df7-9589-7c96eafe2dfb" providerId="ADAL" clId="{85C6553F-A922-43DD-A8C9-829775174CF8}" dt="2025-02-10T06:26:39.104" v="336" actId="20577"/>
        <pc:sldMkLst>
          <pc:docMk/>
          <pc:sldMk cId="1536670552" sldId="3625"/>
        </pc:sldMkLst>
        <pc:graphicFrameChg chg="modGraphic">
          <ac:chgData name="Abdul Rafay" userId="f0baa150-18fb-4df7-9589-7c96eafe2dfb" providerId="ADAL" clId="{85C6553F-A922-43DD-A8C9-829775174CF8}" dt="2025-02-10T06:26:39.104" v="336" actId="20577"/>
          <ac:graphicFrameMkLst>
            <pc:docMk/>
            <pc:sldMk cId="1536670552" sldId="3625"/>
            <ac:graphicFrameMk id="6" creationId="{26A499F3-49DA-CD07-57F0-A6ECE6D32701}"/>
          </ac:graphicFrameMkLst>
        </pc:graphicFrameChg>
      </pc:sldChg>
      <pc:sldChg chg="addSp delSp modSp mod">
        <pc:chgData name="Abdul Rafay" userId="f0baa150-18fb-4df7-9589-7c96eafe2dfb" providerId="ADAL" clId="{85C6553F-A922-43DD-A8C9-829775174CF8}" dt="2025-02-10T06:20:04.603" v="256" actId="478"/>
        <pc:sldMkLst>
          <pc:docMk/>
          <pc:sldMk cId="3027995233" sldId="3665"/>
        </pc:sldMkLst>
        <pc:spChg chg="add del mod">
          <ac:chgData name="Abdul Rafay" userId="f0baa150-18fb-4df7-9589-7c96eafe2dfb" providerId="ADAL" clId="{85C6553F-A922-43DD-A8C9-829775174CF8}" dt="2025-02-10T06:20:04.603" v="256" actId="478"/>
          <ac:spMkLst>
            <pc:docMk/>
            <pc:sldMk cId="3027995233" sldId="3665"/>
            <ac:spMk id="3" creationId="{AC099D2C-F067-8DD1-0DC0-9D3E05511E06}"/>
          </ac:spMkLst>
        </pc:spChg>
        <pc:graphicFrameChg chg="mod modGraphic">
          <ac:chgData name="Abdul Rafay" userId="f0baa150-18fb-4df7-9589-7c96eafe2dfb" providerId="ADAL" clId="{85C6553F-A922-43DD-A8C9-829775174CF8}" dt="2025-02-09T12:25:52.008" v="234" actId="20577"/>
          <ac:graphicFrameMkLst>
            <pc:docMk/>
            <pc:sldMk cId="3027995233" sldId="3665"/>
            <ac:graphicFrameMk id="8" creationId="{00000000-0000-0000-0000-000000000000}"/>
          </ac:graphicFrameMkLst>
        </pc:graphicFrameChg>
      </pc:sldChg>
      <pc:sldChg chg="addSp delSp modSp mod">
        <pc:chgData name="Abdul Rafay" userId="f0baa150-18fb-4df7-9589-7c96eafe2dfb" providerId="ADAL" clId="{85C6553F-A922-43DD-A8C9-829775174CF8}" dt="2025-02-10T05:46:53.422" v="252" actId="20577"/>
        <pc:sldMkLst>
          <pc:docMk/>
          <pc:sldMk cId="3185193840" sldId="2147471352"/>
        </pc:sldMkLst>
        <pc:spChg chg="add del mod">
          <ac:chgData name="Abdul Rafay" userId="f0baa150-18fb-4df7-9589-7c96eafe2dfb" providerId="ADAL" clId="{85C6553F-A922-43DD-A8C9-829775174CF8}" dt="2025-02-09T07:56:26.454" v="94" actId="478"/>
          <ac:spMkLst>
            <pc:docMk/>
            <pc:sldMk cId="3185193840" sldId="2147471352"/>
            <ac:spMk id="5" creationId="{3915A353-280D-8D49-3FA5-352050EE3F3E}"/>
          </ac:spMkLst>
        </pc:spChg>
        <pc:spChg chg="add mod">
          <ac:chgData name="Abdul Rafay" userId="f0baa150-18fb-4df7-9589-7c96eafe2dfb" providerId="ADAL" clId="{85C6553F-A922-43DD-A8C9-829775174CF8}" dt="2025-02-09T07:21:15.241" v="61" actId="20577"/>
          <ac:spMkLst>
            <pc:docMk/>
            <pc:sldMk cId="3185193840" sldId="2147471352"/>
            <ac:spMk id="5" creationId="{5453D5B1-EBBD-5BF1-C855-0BF7A60ADCEE}"/>
          </ac:spMkLst>
        </pc:spChg>
        <pc:spChg chg="add del mod">
          <ac:chgData name="Abdul Rafay" userId="f0baa150-18fb-4df7-9589-7c96eafe2dfb" providerId="ADAL" clId="{85C6553F-A922-43DD-A8C9-829775174CF8}" dt="2025-02-09T07:03:35.234" v="50" actId="478"/>
          <ac:spMkLst>
            <pc:docMk/>
            <pc:sldMk cId="3185193840" sldId="2147471352"/>
            <ac:spMk id="5" creationId="{88A55951-71D1-DF54-3EAA-8CE89FF59213}"/>
          </ac:spMkLst>
        </pc:spChg>
        <pc:graphicFrameChg chg="mod modGraphic">
          <ac:chgData name="Abdul Rafay" userId="f0baa150-18fb-4df7-9589-7c96eafe2dfb" providerId="ADAL" clId="{85C6553F-A922-43DD-A8C9-829775174CF8}" dt="2025-02-10T05:46:53.422" v="252" actId="20577"/>
          <ac:graphicFrameMkLst>
            <pc:docMk/>
            <pc:sldMk cId="3185193840" sldId="2147471352"/>
            <ac:graphicFrameMk id="8" creationId="{E056BF1F-93B3-1A4D-FAE0-570AC02851B2}"/>
          </ac:graphicFrameMkLst>
        </pc:graphicFrameChg>
      </pc:sldChg>
      <pc:sldChg chg="modSp mod">
        <pc:chgData name="Abdul Rafay" userId="f0baa150-18fb-4df7-9589-7c96eafe2dfb" providerId="ADAL" clId="{85C6553F-A922-43DD-A8C9-829775174CF8}" dt="2025-02-10T06:11:33.750" v="255" actId="20577"/>
        <pc:sldMkLst>
          <pc:docMk/>
          <pc:sldMk cId="408115" sldId="2147471353"/>
        </pc:sldMkLst>
        <pc:spChg chg="mod">
          <ac:chgData name="Abdul Rafay" userId="f0baa150-18fb-4df7-9589-7c96eafe2dfb" providerId="ADAL" clId="{85C6553F-A922-43DD-A8C9-829775174CF8}" dt="2025-02-10T06:11:33.750" v="255" actId="20577"/>
          <ac:spMkLst>
            <pc:docMk/>
            <pc:sldMk cId="408115" sldId="2147471353"/>
            <ac:spMk id="4" creationId="{EB6A93C3-CAD2-2D29-82C8-9AFDA6D5860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7D1C4A-09B7-4F2D-90C2-C09EB042561D}" type="doc">
      <dgm:prSet loTypeId="urn:microsoft.com/office/officeart/2005/8/layout/hProcess9" loCatId="process" qsTypeId="urn:microsoft.com/office/officeart/2005/8/quickstyle/simple1" qsCatId="simple" csTypeId="urn:microsoft.com/office/officeart/2005/8/colors/accent0_1" csCatId="mainScheme" phldr="1"/>
      <dgm:spPr/>
      <dgm:t>
        <a:bodyPr/>
        <a:lstStyle/>
        <a:p>
          <a:endParaRPr lang="en-US"/>
        </a:p>
      </dgm:t>
    </dgm:pt>
    <dgm:pt modelId="{34C9AD63-D560-4BA7-9E42-25F83091204D}">
      <dgm:prSet phldrT="[Text]" custT="1"/>
      <dgm:spPr/>
      <dgm:t>
        <a:bodyPr/>
        <a:lstStyle/>
        <a:p>
          <a:r>
            <a:rPr lang="en-US" sz="1100"/>
            <a:t>Information gathering</a:t>
          </a:r>
        </a:p>
      </dgm:t>
    </dgm:pt>
    <dgm:pt modelId="{9CD66C7D-9617-4B70-B515-BF2523BECB3A}" type="parTrans" cxnId="{C1E7A5DD-C224-4056-981D-090B58536090}">
      <dgm:prSet/>
      <dgm:spPr/>
      <dgm:t>
        <a:bodyPr/>
        <a:lstStyle/>
        <a:p>
          <a:endParaRPr lang="en-US" sz="1200"/>
        </a:p>
      </dgm:t>
    </dgm:pt>
    <dgm:pt modelId="{E7B5EEFC-36AF-4C31-AFCF-B62B27557842}" type="sibTrans" cxnId="{C1E7A5DD-C224-4056-981D-090B58536090}">
      <dgm:prSet/>
      <dgm:spPr/>
      <dgm:t>
        <a:bodyPr/>
        <a:lstStyle/>
        <a:p>
          <a:endParaRPr lang="en-US" sz="1200"/>
        </a:p>
      </dgm:t>
    </dgm:pt>
    <dgm:pt modelId="{97C18325-5ABC-46FE-B574-8A647671E686}">
      <dgm:prSet phldrT="[Text]" custT="1"/>
      <dgm:spPr/>
      <dgm:t>
        <a:bodyPr/>
        <a:lstStyle/>
        <a:p>
          <a:r>
            <a:rPr lang="en-US" sz="1100"/>
            <a:t>Network mapping</a:t>
          </a:r>
        </a:p>
      </dgm:t>
    </dgm:pt>
    <dgm:pt modelId="{CCA86E4C-5487-4E1D-BF32-74BC196C2029}" type="parTrans" cxnId="{B556CC90-B600-4CCE-A324-087FB971CDC7}">
      <dgm:prSet/>
      <dgm:spPr/>
      <dgm:t>
        <a:bodyPr/>
        <a:lstStyle/>
        <a:p>
          <a:endParaRPr lang="en-US" sz="1200"/>
        </a:p>
      </dgm:t>
    </dgm:pt>
    <dgm:pt modelId="{61062686-68AA-42D4-9746-BF34527AE737}" type="sibTrans" cxnId="{B556CC90-B600-4CCE-A324-087FB971CDC7}">
      <dgm:prSet/>
      <dgm:spPr/>
      <dgm:t>
        <a:bodyPr/>
        <a:lstStyle/>
        <a:p>
          <a:endParaRPr lang="en-US" sz="1200"/>
        </a:p>
      </dgm:t>
    </dgm:pt>
    <dgm:pt modelId="{D0B69E13-B15D-4628-95EC-54E64426F9E5}">
      <dgm:prSet phldrT="[Text]" custT="1"/>
      <dgm:spPr/>
      <dgm:t>
        <a:bodyPr/>
        <a:lstStyle/>
        <a:p>
          <a:r>
            <a:rPr lang="en-US" sz="1100"/>
            <a:t>Penetration</a:t>
          </a:r>
        </a:p>
      </dgm:t>
    </dgm:pt>
    <dgm:pt modelId="{64FC1E5E-588C-42D9-8EA6-EDE0604CAA1B}" type="parTrans" cxnId="{35447D06-C8B5-43DA-92EF-D0F19D0FD5CC}">
      <dgm:prSet/>
      <dgm:spPr/>
      <dgm:t>
        <a:bodyPr/>
        <a:lstStyle/>
        <a:p>
          <a:endParaRPr lang="en-US" sz="1200"/>
        </a:p>
      </dgm:t>
    </dgm:pt>
    <dgm:pt modelId="{E851422C-0DE4-4325-AADC-DCBA6A4EAAAD}" type="sibTrans" cxnId="{35447D06-C8B5-43DA-92EF-D0F19D0FD5CC}">
      <dgm:prSet/>
      <dgm:spPr/>
      <dgm:t>
        <a:bodyPr/>
        <a:lstStyle/>
        <a:p>
          <a:endParaRPr lang="en-US" sz="1200"/>
        </a:p>
      </dgm:t>
    </dgm:pt>
    <dgm:pt modelId="{FCFAA539-6FA1-45AE-BB8C-00ED313CE253}">
      <dgm:prSet phldrT="[Text]" custT="1"/>
      <dgm:spPr/>
      <dgm:t>
        <a:bodyPr/>
        <a:lstStyle/>
        <a:p>
          <a:r>
            <a:rPr lang="en-US" sz="1100"/>
            <a:t>Gaining access and privilege escalation</a:t>
          </a:r>
        </a:p>
      </dgm:t>
    </dgm:pt>
    <dgm:pt modelId="{05F0D242-62F2-4603-B7FC-200F6BD0BD59}" type="parTrans" cxnId="{66C548A6-109D-49FC-A89E-49A4E4C85B28}">
      <dgm:prSet/>
      <dgm:spPr/>
      <dgm:t>
        <a:bodyPr/>
        <a:lstStyle/>
        <a:p>
          <a:endParaRPr lang="en-US" sz="1200"/>
        </a:p>
      </dgm:t>
    </dgm:pt>
    <dgm:pt modelId="{F48B36F7-F99F-49CE-9BE9-0D7A25C8F7B5}" type="sibTrans" cxnId="{66C548A6-109D-49FC-A89E-49A4E4C85B28}">
      <dgm:prSet/>
      <dgm:spPr/>
      <dgm:t>
        <a:bodyPr/>
        <a:lstStyle/>
        <a:p>
          <a:endParaRPr lang="en-US" sz="1200"/>
        </a:p>
      </dgm:t>
    </dgm:pt>
    <dgm:pt modelId="{8410BD15-8BFD-4005-A1C2-4CE74BB2882A}">
      <dgm:prSet phldrT="[Text]" custT="1"/>
      <dgm:spPr/>
      <dgm:t>
        <a:bodyPr/>
        <a:lstStyle/>
        <a:p>
          <a:r>
            <a:rPr lang="en-US" sz="1100"/>
            <a:t>Enumerating further</a:t>
          </a:r>
        </a:p>
      </dgm:t>
    </dgm:pt>
    <dgm:pt modelId="{F11CD12B-6B42-45D6-8B79-88BC3A4CC726}" type="parTrans" cxnId="{A6BBF960-81A8-4BCA-B87B-FC858A0C8422}">
      <dgm:prSet/>
      <dgm:spPr/>
      <dgm:t>
        <a:bodyPr/>
        <a:lstStyle/>
        <a:p>
          <a:endParaRPr lang="en-US" sz="1200"/>
        </a:p>
      </dgm:t>
    </dgm:pt>
    <dgm:pt modelId="{688A1D63-FEEB-4E75-BE86-ECF836993AC2}" type="sibTrans" cxnId="{A6BBF960-81A8-4BCA-B87B-FC858A0C8422}">
      <dgm:prSet/>
      <dgm:spPr/>
      <dgm:t>
        <a:bodyPr/>
        <a:lstStyle/>
        <a:p>
          <a:endParaRPr lang="en-US" sz="1200"/>
        </a:p>
      </dgm:t>
    </dgm:pt>
    <dgm:pt modelId="{92865147-C45D-444E-B45F-D633C4D62254}">
      <dgm:prSet phldrT="[Text]" custT="1"/>
      <dgm:spPr/>
      <dgm:t>
        <a:bodyPr/>
        <a:lstStyle/>
        <a:p>
          <a:r>
            <a:rPr lang="en-US" sz="1100"/>
            <a:t>Maintaining access</a:t>
          </a:r>
        </a:p>
      </dgm:t>
    </dgm:pt>
    <dgm:pt modelId="{372CA6CD-2162-4114-8CD1-473C7D33BE58}" type="parTrans" cxnId="{AD4AB0F4-E811-40E2-B003-C33205FF0BF5}">
      <dgm:prSet/>
      <dgm:spPr/>
      <dgm:t>
        <a:bodyPr/>
        <a:lstStyle/>
        <a:p>
          <a:endParaRPr lang="en-US" sz="1200"/>
        </a:p>
      </dgm:t>
    </dgm:pt>
    <dgm:pt modelId="{E9383D93-1FED-4E1A-B93A-47C40F01F386}" type="sibTrans" cxnId="{AD4AB0F4-E811-40E2-B003-C33205FF0BF5}">
      <dgm:prSet/>
      <dgm:spPr/>
      <dgm:t>
        <a:bodyPr/>
        <a:lstStyle/>
        <a:p>
          <a:endParaRPr lang="en-US" sz="1200"/>
        </a:p>
      </dgm:t>
    </dgm:pt>
    <dgm:pt modelId="{9973BE17-A95E-4F0D-AA18-08B763EB8ED0}">
      <dgm:prSet phldrT="[Text]" custT="1"/>
      <dgm:spPr/>
      <dgm:t>
        <a:bodyPr/>
        <a:lstStyle/>
        <a:p>
          <a:r>
            <a:rPr lang="en-US" sz="1100"/>
            <a:t>Compromising remote users/sites</a:t>
          </a:r>
        </a:p>
      </dgm:t>
    </dgm:pt>
    <dgm:pt modelId="{A47D8690-65E1-44A4-B911-1DCB9E0492EF}" type="parTrans" cxnId="{C2DA1C6F-8CF0-48FC-8ED4-0F41DC7FE4BD}">
      <dgm:prSet/>
      <dgm:spPr/>
      <dgm:t>
        <a:bodyPr/>
        <a:lstStyle/>
        <a:p>
          <a:endParaRPr lang="en-US" sz="1200"/>
        </a:p>
      </dgm:t>
    </dgm:pt>
    <dgm:pt modelId="{591CF5A1-71EB-4F00-BDB6-64F16E16E5D4}" type="sibTrans" cxnId="{C2DA1C6F-8CF0-48FC-8ED4-0F41DC7FE4BD}">
      <dgm:prSet/>
      <dgm:spPr/>
      <dgm:t>
        <a:bodyPr/>
        <a:lstStyle/>
        <a:p>
          <a:endParaRPr lang="en-US" sz="1200"/>
        </a:p>
      </dgm:t>
    </dgm:pt>
    <dgm:pt modelId="{18CED501-E73E-4890-A300-93018578F22E}">
      <dgm:prSet phldrT="[Text]" custT="1"/>
      <dgm:spPr/>
      <dgm:t>
        <a:bodyPr/>
        <a:lstStyle/>
        <a:p>
          <a:r>
            <a:rPr lang="en-US" sz="1100"/>
            <a:t>Vulnerability Identification</a:t>
          </a:r>
        </a:p>
      </dgm:t>
    </dgm:pt>
    <dgm:pt modelId="{566416CF-0FC3-4A79-94E5-05120E75DAB2}" type="parTrans" cxnId="{56E4499B-9CE1-412E-9238-CAA2D8EEA85E}">
      <dgm:prSet/>
      <dgm:spPr/>
      <dgm:t>
        <a:bodyPr/>
        <a:lstStyle/>
        <a:p>
          <a:endParaRPr lang="en-US" sz="1200"/>
        </a:p>
      </dgm:t>
    </dgm:pt>
    <dgm:pt modelId="{2999FB65-C910-420A-AF20-D7EDB2BC4BDB}" type="sibTrans" cxnId="{56E4499B-9CE1-412E-9238-CAA2D8EEA85E}">
      <dgm:prSet/>
      <dgm:spPr/>
      <dgm:t>
        <a:bodyPr/>
        <a:lstStyle/>
        <a:p>
          <a:endParaRPr lang="en-US" sz="1200"/>
        </a:p>
      </dgm:t>
    </dgm:pt>
    <dgm:pt modelId="{F456CA0B-FE86-41F0-944E-F8AAD0B5AD26}">
      <dgm:prSet phldrT="[Text]" custT="1"/>
      <dgm:spPr/>
      <dgm:t>
        <a:bodyPr/>
        <a:lstStyle/>
        <a:p>
          <a:r>
            <a:rPr lang="en-US" sz="1100"/>
            <a:t>Covering the track</a:t>
          </a:r>
        </a:p>
      </dgm:t>
    </dgm:pt>
    <dgm:pt modelId="{48C00A34-031B-4023-9FCB-CEDD91B0C24E}" type="parTrans" cxnId="{DEBBD841-0C44-42A1-AE5E-285DB2E2B891}">
      <dgm:prSet/>
      <dgm:spPr/>
      <dgm:t>
        <a:bodyPr/>
        <a:lstStyle/>
        <a:p>
          <a:endParaRPr lang="en-US" sz="1200"/>
        </a:p>
      </dgm:t>
    </dgm:pt>
    <dgm:pt modelId="{62DA89D9-AA98-4249-B277-417DFB41F143}" type="sibTrans" cxnId="{DEBBD841-0C44-42A1-AE5E-285DB2E2B891}">
      <dgm:prSet/>
      <dgm:spPr/>
      <dgm:t>
        <a:bodyPr/>
        <a:lstStyle/>
        <a:p>
          <a:endParaRPr lang="en-US" sz="1200"/>
        </a:p>
      </dgm:t>
    </dgm:pt>
    <dgm:pt modelId="{D25124EA-A56F-4BF1-9E84-67CBE9E01BAB}" type="pres">
      <dgm:prSet presAssocID="{D47D1C4A-09B7-4F2D-90C2-C09EB042561D}" presName="CompostProcess" presStyleCnt="0">
        <dgm:presLayoutVars>
          <dgm:dir/>
          <dgm:resizeHandles val="exact"/>
        </dgm:presLayoutVars>
      </dgm:prSet>
      <dgm:spPr/>
    </dgm:pt>
    <dgm:pt modelId="{B5492134-8402-4705-B6BC-EB85EB30792B}" type="pres">
      <dgm:prSet presAssocID="{D47D1C4A-09B7-4F2D-90C2-C09EB042561D}" presName="arrow" presStyleLbl="bgShp" presStyleIdx="0" presStyleCnt="1" custScaleX="117647" custScaleY="80130"/>
      <dgm:spPr>
        <a:gradFill rotWithShape="0">
          <a:gsLst>
            <a:gs pos="0">
              <a:schemeClr val="bg1">
                <a:lumMod val="75000"/>
                <a:alpha val="44000"/>
              </a:schemeClr>
            </a:gs>
            <a:gs pos="100000">
              <a:schemeClr val="tx1">
                <a:lumMod val="95000"/>
                <a:lumOff val="5000"/>
                <a:alpha val="91000"/>
              </a:schemeClr>
            </a:gs>
          </a:gsLst>
          <a:lin ang="7200000" scaled="0"/>
        </a:gradFill>
      </dgm:spPr>
    </dgm:pt>
    <dgm:pt modelId="{B733925B-7AED-42CD-B410-576D3EFBE368}" type="pres">
      <dgm:prSet presAssocID="{D47D1C4A-09B7-4F2D-90C2-C09EB042561D}" presName="linearProcess" presStyleCnt="0"/>
      <dgm:spPr/>
    </dgm:pt>
    <dgm:pt modelId="{3BF1FD39-9211-4C4F-A7B7-889CE46B8984}" type="pres">
      <dgm:prSet presAssocID="{34C9AD63-D560-4BA7-9E42-25F83091204D}" presName="textNode" presStyleLbl="node1" presStyleIdx="0" presStyleCnt="9" custScaleX="27123" custScaleY="36423" custLinFactNeighborX="-1909" custLinFactNeighborY="-26272">
        <dgm:presLayoutVars>
          <dgm:bulletEnabled val="1"/>
        </dgm:presLayoutVars>
      </dgm:prSet>
      <dgm:spPr/>
    </dgm:pt>
    <dgm:pt modelId="{597C7232-9C31-42D8-A5DE-AC06369E746D}" type="pres">
      <dgm:prSet presAssocID="{E7B5EEFC-36AF-4C31-AFCF-B62B27557842}" presName="sibTrans" presStyleCnt="0"/>
      <dgm:spPr/>
    </dgm:pt>
    <dgm:pt modelId="{77729CFD-C3EB-4EB7-9510-073582B5B318}" type="pres">
      <dgm:prSet presAssocID="{97C18325-5ABC-46FE-B574-8A647671E686}" presName="textNode" presStyleLbl="node1" presStyleIdx="1" presStyleCnt="9" custScaleX="27123" custScaleY="36423" custLinFactNeighborX="-1909" custLinFactNeighborY="-26272">
        <dgm:presLayoutVars>
          <dgm:bulletEnabled val="1"/>
        </dgm:presLayoutVars>
      </dgm:prSet>
      <dgm:spPr/>
    </dgm:pt>
    <dgm:pt modelId="{9D8A40F7-3EB6-49DB-8864-356C4931EF14}" type="pres">
      <dgm:prSet presAssocID="{61062686-68AA-42D4-9746-BF34527AE737}" presName="sibTrans" presStyleCnt="0"/>
      <dgm:spPr/>
    </dgm:pt>
    <dgm:pt modelId="{8F9B7931-7FB7-45BA-9716-E2EEB82DACE6}" type="pres">
      <dgm:prSet presAssocID="{18CED501-E73E-4890-A300-93018578F22E}" presName="textNode" presStyleLbl="node1" presStyleIdx="2" presStyleCnt="9" custScaleX="27123" custScaleY="36423" custLinFactNeighborX="-1909" custLinFactNeighborY="-26272">
        <dgm:presLayoutVars>
          <dgm:bulletEnabled val="1"/>
        </dgm:presLayoutVars>
      </dgm:prSet>
      <dgm:spPr/>
    </dgm:pt>
    <dgm:pt modelId="{F61D651A-CABC-473F-BC29-C69373542A63}" type="pres">
      <dgm:prSet presAssocID="{2999FB65-C910-420A-AF20-D7EDB2BC4BDB}" presName="sibTrans" presStyleCnt="0"/>
      <dgm:spPr/>
    </dgm:pt>
    <dgm:pt modelId="{F58768C0-06C7-4386-940F-B2B1EA4E24A3}" type="pres">
      <dgm:prSet presAssocID="{D0B69E13-B15D-4628-95EC-54E64426F9E5}" presName="textNode" presStyleLbl="node1" presStyleIdx="3" presStyleCnt="9" custScaleX="27123" custScaleY="36423" custLinFactNeighborX="-1909" custLinFactNeighborY="-26272">
        <dgm:presLayoutVars>
          <dgm:bulletEnabled val="1"/>
        </dgm:presLayoutVars>
      </dgm:prSet>
      <dgm:spPr/>
    </dgm:pt>
    <dgm:pt modelId="{ACAFFFC1-5D0E-464E-827C-9E7BCC34ABB6}" type="pres">
      <dgm:prSet presAssocID="{E851422C-0DE4-4325-AADC-DCBA6A4EAAAD}" presName="sibTrans" presStyleCnt="0"/>
      <dgm:spPr/>
    </dgm:pt>
    <dgm:pt modelId="{D0CCFECF-3A29-4D93-8054-535CFB304A5D}" type="pres">
      <dgm:prSet presAssocID="{FCFAA539-6FA1-45AE-BB8C-00ED313CE253}" presName="textNode" presStyleLbl="node1" presStyleIdx="4" presStyleCnt="9" custScaleX="27123" custScaleY="36423" custLinFactNeighborX="-1909" custLinFactNeighborY="-26272">
        <dgm:presLayoutVars>
          <dgm:bulletEnabled val="1"/>
        </dgm:presLayoutVars>
      </dgm:prSet>
      <dgm:spPr/>
    </dgm:pt>
    <dgm:pt modelId="{DDC4A927-2E73-4D9D-9F60-E56EF2099DA1}" type="pres">
      <dgm:prSet presAssocID="{F48B36F7-F99F-49CE-9BE9-0D7A25C8F7B5}" presName="sibTrans" presStyleCnt="0"/>
      <dgm:spPr/>
    </dgm:pt>
    <dgm:pt modelId="{D13F8B5B-AE9C-4CDD-B84A-733633AC3BFF}" type="pres">
      <dgm:prSet presAssocID="{8410BD15-8BFD-4005-A1C2-4CE74BB2882A}" presName="textNode" presStyleLbl="node1" presStyleIdx="5" presStyleCnt="9" custScaleX="27123" custScaleY="36423" custLinFactNeighborX="-1909" custLinFactNeighborY="-26272">
        <dgm:presLayoutVars>
          <dgm:bulletEnabled val="1"/>
        </dgm:presLayoutVars>
      </dgm:prSet>
      <dgm:spPr/>
    </dgm:pt>
    <dgm:pt modelId="{240B6B11-2D71-4DA2-8ECC-A9D451779197}" type="pres">
      <dgm:prSet presAssocID="{688A1D63-FEEB-4E75-BE86-ECF836993AC2}" presName="sibTrans" presStyleCnt="0"/>
      <dgm:spPr/>
    </dgm:pt>
    <dgm:pt modelId="{636D82E1-2BBD-4956-ADF8-45A0D9AAE966}" type="pres">
      <dgm:prSet presAssocID="{9973BE17-A95E-4F0D-AA18-08B763EB8ED0}" presName="textNode" presStyleLbl="node1" presStyleIdx="6" presStyleCnt="9" custScaleX="27123" custScaleY="36423" custLinFactNeighborX="-1909" custLinFactNeighborY="-26272">
        <dgm:presLayoutVars>
          <dgm:bulletEnabled val="1"/>
        </dgm:presLayoutVars>
      </dgm:prSet>
      <dgm:spPr/>
    </dgm:pt>
    <dgm:pt modelId="{D582EB70-B8C9-4717-BAE5-5B6DB0382E47}" type="pres">
      <dgm:prSet presAssocID="{591CF5A1-71EB-4F00-BDB6-64F16E16E5D4}" presName="sibTrans" presStyleCnt="0"/>
      <dgm:spPr/>
    </dgm:pt>
    <dgm:pt modelId="{C83036AF-C184-49FD-B8AF-5201FC3C4D4F}" type="pres">
      <dgm:prSet presAssocID="{92865147-C45D-444E-B45F-D633C4D62254}" presName="textNode" presStyleLbl="node1" presStyleIdx="7" presStyleCnt="9" custScaleX="27123" custScaleY="36423" custLinFactNeighborX="-1909" custLinFactNeighborY="-26272">
        <dgm:presLayoutVars>
          <dgm:bulletEnabled val="1"/>
        </dgm:presLayoutVars>
      </dgm:prSet>
      <dgm:spPr/>
    </dgm:pt>
    <dgm:pt modelId="{F490A97E-9476-4AB5-8404-A532490D8679}" type="pres">
      <dgm:prSet presAssocID="{E9383D93-1FED-4E1A-B93A-47C40F01F386}" presName="sibTrans" presStyleCnt="0"/>
      <dgm:spPr/>
    </dgm:pt>
    <dgm:pt modelId="{38B8BDE1-C20B-4097-9BF2-163923CB56AF}" type="pres">
      <dgm:prSet presAssocID="{F456CA0B-FE86-41F0-944E-F8AAD0B5AD26}" presName="textNode" presStyleLbl="node1" presStyleIdx="8" presStyleCnt="9" custScaleX="27123" custScaleY="36423" custLinFactNeighborX="-1909" custLinFactNeighborY="-26272">
        <dgm:presLayoutVars>
          <dgm:bulletEnabled val="1"/>
        </dgm:presLayoutVars>
      </dgm:prSet>
      <dgm:spPr/>
    </dgm:pt>
  </dgm:ptLst>
  <dgm:cxnLst>
    <dgm:cxn modelId="{87F7A604-7E65-4383-8482-22A6A856ADB7}" type="presOf" srcId="{D47D1C4A-09B7-4F2D-90C2-C09EB042561D}" destId="{D25124EA-A56F-4BF1-9E84-67CBE9E01BAB}" srcOrd="0" destOrd="0" presId="urn:microsoft.com/office/officeart/2005/8/layout/hProcess9"/>
    <dgm:cxn modelId="{35447D06-C8B5-43DA-92EF-D0F19D0FD5CC}" srcId="{D47D1C4A-09B7-4F2D-90C2-C09EB042561D}" destId="{D0B69E13-B15D-4628-95EC-54E64426F9E5}" srcOrd="3" destOrd="0" parTransId="{64FC1E5E-588C-42D9-8EA6-EDE0604CAA1B}" sibTransId="{E851422C-0DE4-4325-AADC-DCBA6A4EAAAD}"/>
    <dgm:cxn modelId="{766B4609-88D9-4604-B47A-E9EBCAC117B6}" type="presOf" srcId="{97C18325-5ABC-46FE-B574-8A647671E686}" destId="{77729CFD-C3EB-4EB7-9510-073582B5B318}" srcOrd="0" destOrd="0" presId="urn:microsoft.com/office/officeart/2005/8/layout/hProcess9"/>
    <dgm:cxn modelId="{B347460F-06A8-484F-8DE7-57C421012792}" type="presOf" srcId="{92865147-C45D-444E-B45F-D633C4D62254}" destId="{C83036AF-C184-49FD-B8AF-5201FC3C4D4F}" srcOrd="0" destOrd="0" presId="urn:microsoft.com/office/officeart/2005/8/layout/hProcess9"/>
    <dgm:cxn modelId="{425D8212-49FF-4002-8D16-C42D95E1A568}" type="presOf" srcId="{F456CA0B-FE86-41F0-944E-F8AAD0B5AD26}" destId="{38B8BDE1-C20B-4097-9BF2-163923CB56AF}" srcOrd="0" destOrd="0" presId="urn:microsoft.com/office/officeart/2005/8/layout/hProcess9"/>
    <dgm:cxn modelId="{2B8E8227-895E-4A4F-962B-5A7C86215421}" type="presOf" srcId="{34C9AD63-D560-4BA7-9E42-25F83091204D}" destId="{3BF1FD39-9211-4C4F-A7B7-889CE46B8984}" srcOrd="0" destOrd="0" presId="urn:microsoft.com/office/officeart/2005/8/layout/hProcess9"/>
    <dgm:cxn modelId="{A6BBF960-81A8-4BCA-B87B-FC858A0C8422}" srcId="{D47D1C4A-09B7-4F2D-90C2-C09EB042561D}" destId="{8410BD15-8BFD-4005-A1C2-4CE74BB2882A}" srcOrd="5" destOrd="0" parTransId="{F11CD12B-6B42-45D6-8B79-88BC3A4CC726}" sibTransId="{688A1D63-FEEB-4E75-BE86-ECF836993AC2}"/>
    <dgm:cxn modelId="{717F6A41-6527-4D71-84B4-F74BBF5240E0}" type="presOf" srcId="{8410BD15-8BFD-4005-A1C2-4CE74BB2882A}" destId="{D13F8B5B-AE9C-4CDD-B84A-733633AC3BFF}" srcOrd="0" destOrd="0" presId="urn:microsoft.com/office/officeart/2005/8/layout/hProcess9"/>
    <dgm:cxn modelId="{DEBBD841-0C44-42A1-AE5E-285DB2E2B891}" srcId="{D47D1C4A-09B7-4F2D-90C2-C09EB042561D}" destId="{F456CA0B-FE86-41F0-944E-F8AAD0B5AD26}" srcOrd="8" destOrd="0" parTransId="{48C00A34-031B-4023-9FCB-CEDD91B0C24E}" sibTransId="{62DA89D9-AA98-4249-B277-417DFB41F143}"/>
    <dgm:cxn modelId="{C2DA1C6F-8CF0-48FC-8ED4-0F41DC7FE4BD}" srcId="{D47D1C4A-09B7-4F2D-90C2-C09EB042561D}" destId="{9973BE17-A95E-4F0D-AA18-08B763EB8ED0}" srcOrd="6" destOrd="0" parTransId="{A47D8690-65E1-44A4-B911-1DCB9E0492EF}" sibTransId="{591CF5A1-71EB-4F00-BDB6-64F16E16E5D4}"/>
    <dgm:cxn modelId="{B556CC90-B600-4CCE-A324-087FB971CDC7}" srcId="{D47D1C4A-09B7-4F2D-90C2-C09EB042561D}" destId="{97C18325-5ABC-46FE-B574-8A647671E686}" srcOrd="1" destOrd="0" parTransId="{CCA86E4C-5487-4E1D-BF32-74BC196C2029}" sibTransId="{61062686-68AA-42D4-9746-BF34527AE737}"/>
    <dgm:cxn modelId="{56E4499B-9CE1-412E-9238-CAA2D8EEA85E}" srcId="{D47D1C4A-09B7-4F2D-90C2-C09EB042561D}" destId="{18CED501-E73E-4890-A300-93018578F22E}" srcOrd="2" destOrd="0" parTransId="{566416CF-0FC3-4A79-94E5-05120E75DAB2}" sibTransId="{2999FB65-C910-420A-AF20-D7EDB2BC4BDB}"/>
    <dgm:cxn modelId="{6ECBD2A2-D530-4A37-A245-781AA1AACDC6}" type="presOf" srcId="{18CED501-E73E-4890-A300-93018578F22E}" destId="{8F9B7931-7FB7-45BA-9716-E2EEB82DACE6}" srcOrd="0" destOrd="0" presId="urn:microsoft.com/office/officeart/2005/8/layout/hProcess9"/>
    <dgm:cxn modelId="{75D559A5-A711-4032-87D0-1B84ACE5C20F}" type="presOf" srcId="{9973BE17-A95E-4F0D-AA18-08B763EB8ED0}" destId="{636D82E1-2BBD-4956-ADF8-45A0D9AAE966}" srcOrd="0" destOrd="0" presId="urn:microsoft.com/office/officeart/2005/8/layout/hProcess9"/>
    <dgm:cxn modelId="{66C548A6-109D-49FC-A89E-49A4E4C85B28}" srcId="{D47D1C4A-09B7-4F2D-90C2-C09EB042561D}" destId="{FCFAA539-6FA1-45AE-BB8C-00ED313CE253}" srcOrd="4" destOrd="0" parTransId="{05F0D242-62F2-4603-B7FC-200F6BD0BD59}" sibTransId="{F48B36F7-F99F-49CE-9BE9-0D7A25C8F7B5}"/>
    <dgm:cxn modelId="{7A9DADD8-1391-4231-82EF-D66BB09777A9}" type="presOf" srcId="{FCFAA539-6FA1-45AE-BB8C-00ED313CE253}" destId="{D0CCFECF-3A29-4D93-8054-535CFB304A5D}" srcOrd="0" destOrd="0" presId="urn:microsoft.com/office/officeart/2005/8/layout/hProcess9"/>
    <dgm:cxn modelId="{C1E7A5DD-C224-4056-981D-090B58536090}" srcId="{D47D1C4A-09B7-4F2D-90C2-C09EB042561D}" destId="{34C9AD63-D560-4BA7-9E42-25F83091204D}" srcOrd="0" destOrd="0" parTransId="{9CD66C7D-9617-4B70-B515-BF2523BECB3A}" sibTransId="{E7B5EEFC-36AF-4C31-AFCF-B62B27557842}"/>
    <dgm:cxn modelId="{9D6265F1-A732-4C2D-94F4-6F426D704339}" type="presOf" srcId="{D0B69E13-B15D-4628-95EC-54E64426F9E5}" destId="{F58768C0-06C7-4386-940F-B2B1EA4E24A3}" srcOrd="0" destOrd="0" presId="urn:microsoft.com/office/officeart/2005/8/layout/hProcess9"/>
    <dgm:cxn modelId="{AD4AB0F4-E811-40E2-B003-C33205FF0BF5}" srcId="{D47D1C4A-09B7-4F2D-90C2-C09EB042561D}" destId="{92865147-C45D-444E-B45F-D633C4D62254}" srcOrd="7" destOrd="0" parTransId="{372CA6CD-2162-4114-8CD1-473C7D33BE58}" sibTransId="{E9383D93-1FED-4E1A-B93A-47C40F01F386}"/>
    <dgm:cxn modelId="{8D37591D-544C-45BB-A9CF-1A11CA1E58AE}" type="presParOf" srcId="{D25124EA-A56F-4BF1-9E84-67CBE9E01BAB}" destId="{B5492134-8402-4705-B6BC-EB85EB30792B}" srcOrd="0" destOrd="0" presId="urn:microsoft.com/office/officeart/2005/8/layout/hProcess9"/>
    <dgm:cxn modelId="{5E60BE07-5BA3-4515-A798-4F27D4A5DFD3}" type="presParOf" srcId="{D25124EA-A56F-4BF1-9E84-67CBE9E01BAB}" destId="{B733925B-7AED-42CD-B410-576D3EFBE368}" srcOrd="1" destOrd="0" presId="urn:microsoft.com/office/officeart/2005/8/layout/hProcess9"/>
    <dgm:cxn modelId="{EA1119FA-C2CB-4EFB-8BBA-BF161364E7F2}" type="presParOf" srcId="{B733925B-7AED-42CD-B410-576D3EFBE368}" destId="{3BF1FD39-9211-4C4F-A7B7-889CE46B8984}" srcOrd="0" destOrd="0" presId="urn:microsoft.com/office/officeart/2005/8/layout/hProcess9"/>
    <dgm:cxn modelId="{0619FBE2-3200-4E8C-94FC-8B40504B92A1}" type="presParOf" srcId="{B733925B-7AED-42CD-B410-576D3EFBE368}" destId="{597C7232-9C31-42D8-A5DE-AC06369E746D}" srcOrd="1" destOrd="0" presId="urn:microsoft.com/office/officeart/2005/8/layout/hProcess9"/>
    <dgm:cxn modelId="{7E03AC2C-BAE4-43D5-99DE-FBA333D2196A}" type="presParOf" srcId="{B733925B-7AED-42CD-B410-576D3EFBE368}" destId="{77729CFD-C3EB-4EB7-9510-073582B5B318}" srcOrd="2" destOrd="0" presId="urn:microsoft.com/office/officeart/2005/8/layout/hProcess9"/>
    <dgm:cxn modelId="{CAFB399A-70EB-4D8B-8A19-888E65C92680}" type="presParOf" srcId="{B733925B-7AED-42CD-B410-576D3EFBE368}" destId="{9D8A40F7-3EB6-49DB-8864-356C4931EF14}" srcOrd="3" destOrd="0" presId="urn:microsoft.com/office/officeart/2005/8/layout/hProcess9"/>
    <dgm:cxn modelId="{7A1E2E15-1F67-4D51-8446-2B51B23930E9}" type="presParOf" srcId="{B733925B-7AED-42CD-B410-576D3EFBE368}" destId="{8F9B7931-7FB7-45BA-9716-E2EEB82DACE6}" srcOrd="4" destOrd="0" presId="urn:microsoft.com/office/officeart/2005/8/layout/hProcess9"/>
    <dgm:cxn modelId="{D55C3473-4214-4E3A-ABC4-BCED37286E77}" type="presParOf" srcId="{B733925B-7AED-42CD-B410-576D3EFBE368}" destId="{F61D651A-CABC-473F-BC29-C69373542A63}" srcOrd="5" destOrd="0" presId="urn:microsoft.com/office/officeart/2005/8/layout/hProcess9"/>
    <dgm:cxn modelId="{12FBFB53-3468-480B-A35A-B31F03B1E984}" type="presParOf" srcId="{B733925B-7AED-42CD-B410-576D3EFBE368}" destId="{F58768C0-06C7-4386-940F-B2B1EA4E24A3}" srcOrd="6" destOrd="0" presId="urn:microsoft.com/office/officeart/2005/8/layout/hProcess9"/>
    <dgm:cxn modelId="{1C3C5FE1-A08D-41A2-80FC-D54BD4D0749E}" type="presParOf" srcId="{B733925B-7AED-42CD-B410-576D3EFBE368}" destId="{ACAFFFC1-5D0E-464E-827C-9E7BCC34ABB6}" srcOrd="7" destOrd="0" presId="urn:microsoft.com/office/officeart/2005/8/layout/hProcess9"/>
    <dgm:cxn modelId="{667720B3-FFC5-4BF8-9AB0-CEB356A888B9}" type="presParOf" srcId="{B733925B-7AED-42CD-B410-576D3EFBE368}" destId="{D0CCFECF-3A29-4D93-8054-535CFB304A5D}" srcOrd="8" destOrd="0" presId="urn:microsoft.com/office/officeart/2005/8/layout/hProcess9"/>
    <dgm:cxn modelId="{54DE16E1-4D50-4471-9D7A-FB3D8C4729C8}" type="presParOf" srcId="{B733925B-7AED-42CD-B410-576D3EFBE368}" destId="{DDC4A927-2E73-4D9D-9F60-E56EF2099DA1}" srcOrd="9" destOrd="0" presId="urn:microsoft.com/office/officeart/2005/8/layout/hProcess9"/>
    <dgm:cxn modelId="{A09A883C-2086-4598-AE2A-D7942EAB9250}" type="presParOf" srcId="{B733925B-7AED-42CD-B410-576D3EFBE368}" destId="{D13F8B5B-AE9C-4CDD-B84A-733633AC3BFF}" srcOrd="10" destOrd="0" presId="urn:microsoft.com/office/officeart/2005/8/layout/hProcess9"/>
    <dgm:cxn modelId="{AF265C94-0EDC-42F6-AD08-5F641BDC999D}" type="presParOf" srcId="{B733925B-7AED-42CD-B410-576D3EFBE368}" destId="{240B6B11-2D71-4DA2-8ECC-A9D451779197}" srcOrd="11" destOrd="0" presId="urn:microsoft.com/office/officeart/2005/8/layout/hProcess9"/>
    <dgm:cxn modelId="{FF65A8D5-E349-4C22-9A0E-4CF507D83179}" type="presParOf" srcId="{B733925B-7AED-42CD-B410-576D3EFBE368}" destId="{636D82E1-2BBD-4956-ADF8-45A0D9AAE966}" srcOrd="12" destOrd="0" presId="urn:microsoft.com/office/officeart/2005/8/layout/hProcess9"/>
    <dgm:cxn modelId="{8EB8A34E-FAB1-487E-A5B9-1018E0B32573}" type="presParOf" srcId="{B733925B-7AED-42CD-B410-576D3EFBE368}" destId="{D582EB70-B8C9-4717-BAE5-5B6DB0382E47}" srcOrd="13" destOrd="0" presId="urn:microsoft.com/office/officeart/2005/8/layout/hProcess9"/>
    <dgm:cxn modelId="{53EBB3EC-FF22-4DDA-A208-9D4E71610EB8}" type="presParOf" srcId="{B733925B-7AED-42CD-B410-576D3EFBE368}" destId="{C83036AF-C184-49FD-B8AF-5201FC3C4D4F}" srcOrd="14" destOrd="0" presId="urn:microsoft.com/office/officeart/2005/8/layout/hProcess9"/>
    <dgm:cxn modelId="{C5A16075-ACFF-44FD-A0C6-6DDC98CBE90B}" type="presParOf" srcId="{B733925B-7AED-42CD-B410-576D3EFBE368}" destId="{F490A97E-9476-4AB5-8404-A532490D8679}" srcOrd="15" destOrd="0" presId="urn:microsoft.com/office/officeart/2005/8/layout/hProcess9"/>
    <dgm:cxn modelId="{2E36CBC8-2A44-457D-9FBF-83BD21BD82DB}" type="presParOf" srcId="{B733925B-7AED-42CD-B410-576D3EFBE368}" destId="{38B8BDE1-C20B-4097-9BF2-163923CB56AF}" srcOrd="1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7EA58F-09ED-4798-8F4C-BE46AC0FF87E}" type="doc">
      <dgm:prSet loTypeId="urn:microsoft.com/office/officeart/2005/8/layout/process5" loCatId="process" qsTypeId="urn:microsoft.com/office/officeart/2005/8/quickstyle/simple1" qsCatId="simple" csTypeId="urn:microsoft.com/office/officeart/2005/8/colors/colorful1" csCatId="colorful" phldr="1"/>
      <dgm:spPr/>
      <dgm:t>
        <a:bodyPr/>
        <a:lstStyle/>
        <a:p>
          <a:endParaRPr lang="en-US"/>
        </a:p>
      </dgm:t>
    </dgm:pt>
    <dgm:pt modelId="{4A6B5C6D-6E78-4804-8668-A4D204E35A6C}">
      <dgm:prSet phldrT="[Text]"/>
      <dgm:spPr>
        <a:xfrm>
          <a:off x="0" y="1333500"/>
          <a:ext cx="1333499" cy="533399"/>
        </a:xfrm>
        <a:solidFill>
          <a:srgbClr val="001D64"/>
        </a:solidFill>
      </dgm:spPr>
      <dgm:t>
        <a:bodyPr/>
        <a:lstStyle/>
        <a:p>
          <a:pPr>
            <a:buNone/>
          </a:pPr>
          <a:r>
            <a:rPr lang="en-US">
              <a:latin typeface="Calibri"/>
              <a:ea typeface="+mn-ea"/>
              <a:cs typeface="+mn-cs"/>
            </a:rPr>
            <a:t>Pre-engagement Interactions</a:t>
          </a:r>
        </a:p>
      </dgm:t>
    </dgm:pt>
    <dgm:pt modelId="{3B76C237-7EE4-456B-82AC-562A6A59B8AD}" type="parTrans" cxnId="{9375F677-D787-4147-AF63-36A3B44DAC40}">
      <dgm:prSet/>
      <dgm:spPr/>
      <dgm:t>
        <a:bodyPr/>
        <a:lstStyle/>
        <a:p>
          <a:endParaRPr lang="en-US"/>
        </a:p>
      </dgm:t>
    </dgm:pt>
    <dgm:pt modelId="{147B4D86-3C54-4E32-A9EC-13F4863C34AD}" type="sibTrans" cxnId="{9375F677-D787-4147-AF63-36A3B44DAC40}">
      <dgm:prSet/>
      <dgm:spPr>
        <a:solidFill>
          <a:srgbClr val="001D64"/>
        </a:solidFill>
      </dgm:spPr>
      <dgm:t>
        <a:bodyPr/>
        <a:lstStyle/>
        <a:p>
          <a:endParaRPr lang="en-US"/>
        </a:p>
      </dgm:t>
    </dgm:pt>
    <dgm:pt modelId="{0B79BEC7-32B3-4CC1-A654-E0ACFD858827}">
      <dgm:prSet/>
      <dgm:spPr>
        <a:xfrm>
          <a:off x="1200149" y="1333500"/>
          <a:ext cx="1333499" cy="533399"/>
        </a:xfrm>
        <a:solidFill>
          <a:srgbClr val="C00000"/>
        </a:solidFill>
      </dgm:spPr>
      <dgm:t>
        <a:bodyPr/>
        <a:lstStyle/>
        <a:p>
          <a:pPr>
            <a:buNone/>
          </a:pPr>
          <a:r>
            <a:rPr lang="en-US">
              <a:latin typeface="Calibri"/>
              <a:ea typeface="+mn-ea"/>
              <a:cs typeface="+mn-cs"/>
            </a:rPr>
            <a:t>Intelligence Gathering</a:t>
          </a:r>
        </a:p>
      </dgm:t>
    </dgm:pt>
    <dgm:pt modelId="{AD6F086F-D148-4AEB-B49A-576A613359F0}" type="parTrans" cxnId="{1F046524-A4A0-4CA2-A625-3DD99D5000BB}">
      <dgm:prSet/>
      <dgm:spPr/>
      <dgm:t>
        <a:bodyPr/>
        <a:lstStyle/>
        <a:p>
          <a:endParaRPr lang="en-US"/>
        </a:p>
      </dgm:t>
    </dgm:pt>
    <dgm:pt modelId="{2AF2DA31-0484-4799-B2DF-FFA9FF0D3660}" type="sibTrans" cxnId="{1F046524-A4A0-4CA2-A625-3DD99D5000BB}">
      <dgm:prSet/>
      <dgm:spPr>
        <a:solidFill>
          <a:srgbClr val="C00000"/>
        </a:solidFill>
      </dgm:spPr>
      <dgm:t>
        <a:bodyPr/>
        <a:lstStyle/>
        <a:p>
          <a:endParaRPr lang="en-US"/>
        </a:p>
      </dgm:t>
    </dgm:pt>
    <dgm:pt modelId="{123BA00F-0FAD-4128-89C3-246A2F27D0D1}">
      <dgm:prSet/>
      <dgm:spPr>
        <a:xfrm>
          <a:off x="2400299" y="1333500"/>
          <a:ext cx="1333499" cy="533399"/>
        </a:xfrm>
        <a:solidFill>
          <a:srgbClr val="C55A11"/>
        </a:solidFill>
      </dgm:spPr>
      <dgm:t>
        <a:bodyPr/>
        <a:lstStyle/>
        <a:p>
          <a:pPr>
            <a:buNone/>
          </a:pPr>
          <a:r>
            <a:rPr lang="en-US">
              <a:latin typeface="Calibri"/>
              <a:ea typeface="+mn-ea"/>
              <a:cs typeface="+mn-cs"/>
            </a:rPr>
            <a:t>Threat Modeling</a:t>
          </a:r>
        </a:p>
      </dgm:t>
    </dgm:pt>
    <dgm:pt modelId="{483CF72F-912C-4704-B42A-7F55798F50BC}" type="parTrans" cxnId="{4087F4C4-A8B9-46F4-A33A-9288A20815D8}">
      <dgm:prSet/>
      <dgm:spPr/>
      <dgm:t>
        <a:bodyPr/>
        <a:lstStyle/>
        <a:p>
          <a:endParaRPr lang="en-US"/>
        </a:p>
      </dgm:t>
    </dgm:pt>
    <dgm:pt modelId="{E071BF67-E42B-422B-AEBE-CDE0D9B8A479}" type="sibTrans" cxnId="{4087F4C4-A8B9-46F4-A33A-9288A20815D8}">
      <dgm:prSet/>
      <dgm:spPr>
        <a:solidFill>
          <a:srgbClr val="C55A11"/>
        </a:solidFill>
      </dgm:spPr>
      <dgm:t>
        <a:bodyPr/>
        <a:lstStyle/>
        <a:p>
          <a:endParaRPr lang="en-US"/>
        </a:p>
      </dgm:t>
    </dgm:pt>
    <dgm:pt modelId="{51315335-2EAE-4D10-ACCA-B9475930F99B}">
      <dgm:prSet/>
      <dgm:spPr>
        <a:xfrm>
          <a:off x="3600449" y="1333500"/>
          <a:ext cx="1333499" cy="533399"/>
        </a:xfrm>
        <a:solidFill>
          <a:srgbClr val="ED7D31"/>
        </a:solidFill>
      </dgm:spPr>
      <dgm:t>
        <a:bodyPr/>
        <a:lstStyle/>
        <a:p>
          <a:pPr>
            <a:buNone/>
          </a:pPr>
          <a:r>
            <a:rPr lang="en-US">
              <a:latin typeface="Calibri"/>
              <a:ea typeface="+mn-ea"/>
              <a:cs typeface="+mn-cs"/>
            </a:rPr>
            <a:t>Vulnerability Analysis</a:t>
          </a:r>
        </a:p>
      </dgm:t>
    </dgm:pt>
    <dgm:pt modelId="{4F72F3E7-CE0A-4BCD-8C9B-860117E4945A}" type="parTrans" cxnId="{6CF47830-6AAB-4D56-9A55-5A7A8379CF27}">
      <dgm:prSet/>
      <dgm:spPr/>
      <dgm:t>
        <a:bodyPr/>
        <a:lstStyle/>
        <a:p>
          <a:endParaRPr lang="en-US"/>
        </a:p>
      </dgm:t>
    </dgm:pt>
    <dgm:pt modelId="{43841363-0431-45B2-8631-C434134A3B0D}" type="sibTrans" cxnId="{6CF47830-6AAB-4D56-9A55-5A7A8379CF27}">
      <dgm:prSet/>
      <dgm:spPr>
        <a:solidFill>
          <a:srgbClr val="ED7D31"/>
        </a:solidFill>
      </dgm:spPr>
      <dgm:t>
        <a:bodyPr/>
        <a:lstStyle/>
        <a:p>
          <a:endParaRPr lang="en-US"/>
        </a:p>
      </dgm:t>
    </dgm:pt>
    <dgm:pt modelId="{FF00E7AB-C3AD-46D5-A0B2-7C39D32DCCE5}">
      <dgm:prSet/>
      <dgm:spPr>
        <a:xfrm>
          <a:off x="4800599" y="1333500"/>
          <a:ext cx="1333499" cy="533399"/>
        </a:xfrm>
        <a:solidFill>
          <a:srgbClr val="4472C4"/>
        </a:solidFill>
      </dgm:spPr>
      <dgm:t>
        <a:bodyPr/>
        <a:lstStyle/>
        <a:p>
          <a:pPr>
            <a:buNone/>
          </a:pPr>
          <a:r>
            <a:rPr lang="en-US">
              <a:latin typeface="Calibri"/>
              <a:ea typeface="+mn-ea"/>
              <a:cs typeface="+mn-cs"/>
            </a:rPr>
            <a:t>Exploitation</a:t>
          </a:r>
        </a:p>
      </dgm:t>
    </dgm:pt>
    <dgm:pt modelId="{5240A81E-B09B-443F-8B68-BA68950C72A6}" type="parTrans" cxnId="{30432C13-AC0A-425D-8F3D-4DF45FC08A93}">
      <dgm:prSet/>
      <dgm:spPr/>
      <dgm:t>
        <a:bodyPr/>
        <a:lstStyle/>
        <a:p>
          <a:endParaRPr lang="en-US"/>
        </a:p>
      </dgm:t>
    </dgm:pt>
    <dgm:pt modelId="{9CF51461-CC25-406C-8855-9515F0F0D558}" type="sibTrans" cxnId="{30432C13-AC0A-425D-8F3D-4DF45FC08A93}">
      <dgm:prSet/>
      <dgm:spPr>
        <a:solidFill>
          <a:srgbClr val="4472C4"/>
        </a:solidFill>
      </dgm:spPr>
      <dgm:t>
        <a:bodyPr/>
        <a:lstStyle/>
        <a:p>
          <a:endParaRPr lang="en-US"/>
        </a:p>
      </dgm:t>
    </dgm:pt>
    <dgm:pt modelId="{CEC7FBFB-3902-4176-9A7A-01E8C962CD07}">
      <dgm:prSet/>
      <dgm:spPr>
        <a:xfrm>
          <a:off x="6000749" y="1333500"/>
          <a:ext cx="1333499" cy="533399"/>
        </a:xfrm>
        <a:solidFill>
          <a:schemeClr val="bg2">
            <a:lumMod val="50000"/>
          </a:schemeClr>
        </a:solidFill>
      </dgm:spPr>
      <dgm:t>
        <a:bodyPr/>
        <a:lstStyle/>
        <a:p>
          <a:pPr>
            <a:buNone/>
          </a:pPr>
          <a:r>
            <a:rPr lang="en-US">
              <a:latin typeface="Calibri"/>
              <a:ea typeface="+mn-ea"/>
              <a:cs typeface="+mn-cs"/>
            </a:rPr>
            <a:t>Post-Exploitation</a:t>
          </a:r>
        </a:p>
      </dgm:t>
    </dgm:pt>
    <dgm:pt modelId="{1A5009BE-71FA-4BBE-AE37-DCFF9F319F8F}" type="parTrans" cxnId="{8A9914D6-2E87-496A-AD24-B89B1B0927D5}">
      <dgm:prSet/>
      <dgm:spPr/>
      <dgm:t>
        <a:bodyPr/>
        <a:lstStyle/>
        <a:p>
          <a:endParaRPr lang="en-US"/>
        </a:p>
      </dgm:t>
    </dgm:pt>
    <dgm:pt modelId="{06CDEA48-54E6-4836-BA6D-64278E5D00B4}" type="sibTrans" cxnId="{8A9914D6-2E87-496A-AD24-B89B1B0927D5}">
      <dgm:prSet/>
      <dgm:spPr>
        <a:solidFill>
          <a:schemeClr val="bg2">
            <a:lumMod val="50000"/>
          </a:schemeClr>
        </a:solidFill>
      </dgm:spPr>
      <dgm:t>
        <a:bodyPr/>
        <a:lstStyle/>
        <a:p>
          <a:endParaRPr lang="en-US"/>
        </a:p>
      </dgm:t>
    </dgm:pt>
    <dgm:pt modelId="{C3056192-E786-4C02-B735-F85D2B1E7261}">
      <dgm:prSet/>
      <dgm:spPr>
        <a:xfrm>
          <a:off x="7200899" y="1333500"/>
          <a:ext cx="1333499" cy="533399"/>
        </a:xfrm>
        <a:solidFill>
          <a:schemeClr val="bg1">
            <a:lumMod val="50000"/>
          </a:schemeClr>
        </a:solidFill>
      </dgm:spPr>
      <dgm:t>
        <a:bodyPr/>
        <a:lstStyle/>
        <a:p>
          <a:pPr>
            <a:buNone/>
          </a:pPr>
          <a:r>
            <a:rPr lang="en-US">
              <a:latin typeface="Calibri"/>
              <a:ea typeface="+mn-ea"/>
              <a:cs typeface="+mn-cs"/>
            </a:rPr>
            <a:t>Reporting</a:t>
          </a:r>
        </a:p>
      </dgm:t>
    </dgm:pt>
    <dgm:pt modelId="{8BD7A910-D0C5-4AEA-B4DD-D376E869A9B0}" type="parTrans" cxnId="{D482073C-2627-47B0-93E7-5A97C350B59A}">
      <dgm:prSet/>
      <dgm:spPr/>
      <dgm:t>
        <a:bodyPr/>
        <a:lstStyle/>
        <a:p>
          <a:endParaRPr lang="en-US"/>
        </a:p>
      </dgm:t>
    </dgm:pt>
    <dgm:pt modelId="{D9D885A8-470C-4419-85C6-B0BE3B8DA54D}" type="sibTrans" cxnId="{D482073C-2627-47B0-93E7-5A97C350B59A}">
      <dgm:prSet/>
      <dgm:spPr/>
      <dgm:t>
        <a:bodyPr/>
        <a:lstStyle/>
        <a:p>
          <a:endParaRPr lang="en-US"/>
        </a:p>
      </dgm:t>
    </dgm:pt>
    <dgm:pt modelId="{DA63434E-8AF8-4FD4-99F4-0CE30D598C3B}" type="pres">
      <dgm:prSet presAssocID="{F47EA58F-09ED-4798-8F4C-BE46AC0FF87E}" presName="diagram" presStyleCnt="0">
        <dgm:presLayoutVars>
          <dgm:dir/>
          <dgm:resizeHandles val="exact"/>
        </dgm:presLayoutVars>
      </dgm:prSet>
      <dgm:spPr/>
    </dgm:pt>
    <dgm:pt modelId="{0BA1B184-55D1-4313-A9B7-B11EFA040AB1}" type="pres">
      <dgm:prSet presAssocID="{4A6B5C6D-6E78-4804-8668-A4D204E35A6C}" presName="node" presStyleLbl="node1" presStyleIdx="0" presStyleCnt="7">
        <dgm:presLayoutVars>
          <dgm:bulletEnabled val="1"/>
        </dgm:presLayoutVars>
      </dgm:prSet>
      <dgm:spPr>
        <a:prstGeom prst="flowChartProcess">
          <a:avLst/>
        </a:prstGeom>
      </dgm:spPr>
    </dgm:pt>
    <dgm:pt modelId="{EAC454C6-9F0B-4284-9E9E-FCF97BBE220B}" type="pres">
      <dgm:prSet presAssocID="{147B4D86-3C54-4E32-A9EC-13F4863C34AD}" presName="sibTrans" presStyleLbl="sibTrans2D1" presStyleIdx="0" presStyleCnt="6"/>
      <dgm:spPr/>
    </dgm:pt>
    <dgm:pt modelId="{09B485DC-C646-4FD4-800F-F6F4C387AA13}" type="pres">
      <dgm:prSet presAssocID="{147B4D86-3C54-4E32-A9EC-13F4863C34AD}" presName="connectorText" presStyleLbl="sibTrans2D1" presStyleIdx="0" presStyleCnt="6"/>
      <dgm:spPr/>
    </dgm:pt>
    <dgm:pt modelId="{5902F681-8E43-4C19-97FD-C748C5BB32F1}" type="pres">
      <dgm:prSet presAssocID="{0B79BEC7-32B3-4CC1-A654-E0ACFD858827}" presName="node" presStyleLbl="node1" presStyleIdx="1" presStyleCnt="7">
        <dgm:presLayoutVars>
          <dgm:bulletEnabled val="1"/>
        </dgm:presLayoutVars>
      </dgm:prSet>
      <dgm:spPr>
        <a:prstGeom prst="flowChartProcess">
          <a:avLst/>
        </a:prstGeom>
      </dgm:spPr>
    </dgm:pt>
    <dgm:pt modelId="{6DFE7597-AB4B-4D5C-9803-0267CE063464}" type="pres">
      <dgm:prSet presAssocID="{2AF2DA31-0484-4799-B2DF-FFA9FF0D3660}" presName="sibTrans" presStyleLbl="sibTrans2D1" presStyleIdx="1" presStyleCnt="6"/>
      <dgm:spPr/>
    </dgm:pt>
    <dgm:pt modelId="{CFC085CB-78EE-432B-90B3-76C5AA3AF342}" type="pres">
      <dgm:prSet presAssocID="{2AF2DA31-0484-4799-B2DF-FFA9FF0D3660}" presName="connectorText" presStyleLbl="sibTrans2D1" presStyleIdx="1" presStyleCnt="6"/>
      <dgm:spPr/>
    </dgm:pt>
    <dgm:pt modelId="{8BDBFB12-35C2-431A-A1E6-7128E7FCC869}" type="pres">
      <dgm:prSet presAssocID="{123BA00F-0FAD-4128-89C3-246A2F27D0D1}" presName="node" presStyleLbl="node1" presStyleIdx="2" presStyleCnt="7">
        <dgm:presLayoutVars>
          <dgm:bulletEnabled val="1"/>
        </dgm:presLayoutVars>
      </dgm:prSet>
      <dgm:spPr>
        <a:prstGeom prst="flowChartProcess">
          <a:avLst/>
        </a:prstGeom>
      </dgm:spPr>
    </dgm:pt>
    <dgm:pt modelId="{D7D8557D-B6CE-4500-9D29-D3562DD86B5E}" type="pres">
      <dgm:prSet presAssocID="{E071BF67-E42B-422B-AEBE-CDE0D9B8A479}" presName="sibTrans" presStyleLbl="sibTrans2D1" presStyleIdx="2" presStyleCnt="6"/>
      <dgm:spPr/>
    </dgm:pt>
    <dgm:pt modelId="{2EB9D1A1-E0E8-4F61-B2BF-CE5425DC348E}" type="pres">
      <dgm:prSet presAssocID="{E071BF67-E42B-422B-AEBE-CDE0D9B8A479}" presName="connectorText" presStyleLbl="sibTrans2D1" presStyleIdx="2" presStyleCnt="6"/>
      <dgm:spPr/>
    </dgm:pt>
    <dgm:pt modelId="{70512178-5514-43C7-B22A-029E13BB831F}" type="pres">
      <dgm:prSet presAssocID="{51315335-2EAE-4D10-ACCA-B9475930F99B}" presName="node" presStyleLbl="node1" presStyleIdx="3" presStyleCnt="7">
        <dgm:presLayoutVars>
          <dgm:bulletEnabled val="1"/>
        </dgm:presLayoutVars>
      </dgm:prSet>
      <dgm:spPr>
        <a:prstGeom prst="flowChartProcess">
          <a:avLst/>
        </a:prstGeom>
      </dgm:spPr>
    </dgm:pt>
    <dgm:pt modelId="{4B71AFD2-9778-47D5-982A-B12D9D76A0E8}" type="pres">
      <dgm:prSet presAssocID="{43841363-0431-45B2-8631-C434134A3B0D}" presName="sibTrans" presStyleLbl="sibTrans2D1" presStyleIdx="3" presStyleCnt="6"/>
      <dgm:spPr/>
    </dgm:pt>
    <dgm:pt modelId="{1709BAA8-A259-414B-AEE8-871A06F6CF4D}" type="pres">
      <dgm:prSet presAssocID="{43841363-0431-45B2-8631-C434134A3B0D}" presName="connectorText" presStyleLbl="sibTrans2D1" presStyleIdx="3" presStyleCnt="6"/>
      <dgm:spPr/>
    </dgm:pt>
    <dgm:pt modelId="{35B489AA-AD12-4474-B2BA-B514A5060D7D}" type="pres">
      <dgm:prSet presAssocID="{FF00E7AB-C3AD-46D5-A0B2-7C39D32DCCE5}" presName="node" presStyleLbl="node1" presStyleIdx="4" presStyleCnt="7">
        <dgm:presLayoutVars>
          <dgm:bulletEnabled val="1"/>
        </dgm:presLayoutVars>
      </dgm:prSet>
      <dgm:spPr>
        <a:prstGeom prst="flowChartProcess">
          <a:avLst/>
        </a:prstGeom>
      </dgm:spPr>
    </dgm:pt>
    <dgm:pt modelId="{C657CADF-184D-46D8-81B7-A53028B278D6}" type="pres">
      <dgm:prSet presAssocID="{9CF51461-CC25-406C-8855-9515F0F0D558}" presName="sibTrans" presStyleLbl="sibTrans2D1" presStyleIdx="4" presStyleCnt="6"/>
      <dgm:spPr/>
    </dgm:pt>
    <dgm:pt modelId="{5CB77C19-298F-44C0-8BEC-ED6054A7CBF1}" type="pres">
      <dgm:prSet presAssocID="{9CF51461-CC25-406C-8855-9515F0F0D558}" presName="connectorText" presStyleLbl="sibTrans2D1" presStyleIdx="4" presStyleCnt="6"/>
      <dgm:spPr/>
    </dgm:pt>
    <dgm:pt modelId="{4FA410D2-4C24-4E6E-B42D-9A2CD4E6128D}" type="pres">
      <dgm:prSet presAssocID="{CEC7FBFB-3902-4176-9A7A-01E8C962CD07}" presName="node" presStyleLbl="node1" presStyleIdx="5" presStyleCnt="7">
        <dgm:presLayoutVars>
          <dgm:bulletEnabled val="1"/>
        </dgm:presLayoutVars>
      </dgm:prSet>
      <dgm:spPr>
        <a:prstGeom prst="flowChartProcess">
          <a:avLst/>
        </a:prstGeom>
      </dgm:spPr>
    </dgm:pt>
    <dgm:pt modelId="{A58DAD09-7CBC-4CCB-A64B-8C2A35E60F7C}" type="pres">
      <dgm:prSet presAssocID="{06CDEA48-54E6-4836-BA6D-64278E5D00B4}" presName="sibTrans" presStyleLbl="sibTrans2D1" presStyleIdx="5" presStyleCnt="6"/>
      <dgm:spPr/>
    </dgm:pt>
    <dgm:pt modelId="{37C2EED1-AEB6-4F27-9354-237977BDB2B3}" type="pres">
      <dgm:prSet presAssocID="{06CDEA48-54E6-4836-BA6D-64278E5D00B4}" presName="connectorText" presStyleLbl="sibTrans2D1" presStyleIdx="5" presStyleCnt="6"/>
      <dgm:spPr/>
    </dgm:pt>
    <dgm:pt modelId="{98289DD9-05EE-4866-8F8D-07D6B807EB08}" type="pres">
      <dgm:prSet presAssocID="{C3056192-E786-4C02-B735-F85D2B1E7261}" presName="node" presStyleLbl="node1" presStyleIdx="6" presStyleCnt="7">
        <dgm:presLayoutVars>
          <dgm:bulletEnabled val="1"/>
        </dgm:presLayoutVars>
      </dgm:prSet>
      <dgm:spPr>
        <a:prstGeom prst="flowChartProcess">
          <a:avLst/>
        </a:prstGeom>
      </dgm:spPr>
    </dgm:pt>
  </dgm:ptLst>
  <dgm:cxnLst>
    <dgm:cxn modelId="{E1D4BE02-39BD-4D78-922C-0312313D2525}" type="presOf" srcId="{CEC7FBFB-3902-4176-9A7A-01E8C962CD07}" destId="{4FA410D2-4C24-4E6E-B42D-9A2CD4E6128D}" srcOrd="0" destOrd="0" presId="urn:microsoft.com/office/officeart/2005/8/layout/process5"/>
    <dgm:cxn modelId="{4E2A8410-4D70-4B43-8A66-6C49234C0610}" type="presOf" srcId="{43841363-0431-45B2-8631-C434134A3B0D}" destId="{4B71AFD2-9778-47D5-982A-B12D9D76A0E8}" srcOrd="0" destOrd="0" presId="urn:microsoft.com/office/officeart/2005/8/layout/process5"/>
    <dgm:cxn modelId="{30432C13-AC0A-425D-8F3D-4DF45FC08A93}" srcId="{F47EA58F-09ED-4798-8F4C-BE46AC0FF87E}" destId="{FF00E7AB-C3AD-46D5-A0B2-7C39D32DCCE5}" srcOrd="4" destOrd="0" parTransId="{5240A81E-B09B-443F-8B68-BA68950C72A6}" sibTransId="{9CF51461-CC25-406C-8855-9515F0F0D558}"/>
    <dgm:cxn modelId="{1F046524-A4A0-4CA2-A625-3DD99D5000BB}" srcId="{F47EA58F-09ED-4798-8F4C-BE46AC0FF87E}" destId="{0B79BEC7-32B3-4CC1-A654-E0ACFD858827}" srcOrd="1" destOrd="0" parTransId="{AD6F086F-D148-4AEB-B49A-576A613359F0}" sibTransId="{2AF2DA31-0484-4799-B2DF-FFA9FF0D3660}"/>
    <dgm:cxn modelId="{6CF47830-6AAB-4D56-9A55-5A7A8379CF27}" srcId="{F47EA58F-09ED-4798-8F4C-BE46AC0FF87E}" destId="{51315335-2EAE-4D10-ACCA-B9475930F99B}" srcOrd="3" destOrd="0" parTransId="{4F72F3E7-CE0A-4BCD-8C9B-860117E4945A}" sibTransId="{43841363-0431-45B2-8631-C434134A3B0D}"/>
    <dgm:cxn modelId="{D482073C-2627-47B0-93E7-5A97C350B59A}" srcId="{F47EA58F-09ED-4798-8F4C-BE46AC0FF87E}" destId="{C3056192-E786-4C02-B735-F85D2B1E7261}" srcOrd="6" destOrd="0" parTransId="{8BD7A910-D0C5-4AEA-B4DD-D376E869A9B0}" sibTransId="{D9D885A8-470C-4419-85C6-B0BE3B8DA54D}"/>
    <dgm:cxn modelId="{515DF23D-79FD-4A0D-A404-3C618825DD7C}" type="presOf" srcId="{06CDEA48-54E6-4836-BA6D-64278E5D00B4}" destId="{37C2EED1-AEB6-4F27-9354-237977BDB2B3}" srcOrd="1" destOrd="0" presId="urn:microsoft.com/office/officeart/2005/8/layout/process5"/>
    <dgm:cxn modelId="{0FC7CD40-3F26-4F37-9A14-5C468DC8C206}" type="presOf" srcId="{4A6B5C6D-6E78-4804-8668-A4D204E35A6C}" destId="{0BA1B184-55D1-4313-A9B7-B11EFA040AB1}" srcOrd="0" destOrd="0" presId="urn:microsoft.com/office/officeart/2005/8/layout/process5"/>
    <dgm:cxn modelId="{630BCE6C-73A1-4A35-9F89-8CAF7F6FF04E}" type="presOf" srcId="{C3056192-E786-4C02-B735-F85D2B1E7261}" destId="{98289DD9-05EE-4866-8F8D-07D6B807EB08}" srcOrd="0" destOrd="0" presId="urn:microsoft.com/office/officeart/2005/8/layout/process5"/>
    <dgm:cxn modelId="{35E87B54-00BD-4152-AC4E-53FA367474A6}" type="presOf" srcId="{E071BF67-E42B-422B-AEBE-CDE0D9B8A479}" destId="{2EB9D1A1-E0E8-4F61-B2BF-CE5425DC348E}" srcOrd="1" destOrd="0" presId="urn:microsoft.com/office/officeart/2005/8/layout/process5"/>
    <dgm:cxn modelId="{E1294055-5759-4499-93FF-563A1ACB4A7E}" type="presOf" srcId="{147B4D86-3C54-4E32-A9EC-13F4863C34AD}" destId="{EAC454C6-9F0B-4284-9E9E-FCF97BBE220B}" srcOrd="0" destOrd="0" presId="urn:microsoft.com/office/officeart/2005/8/layout/process5"/>
    <dgm:cxn modelId="{35DE4675-ACB9-4B22-A517-A3D7DC21989D}" type="presOf" srcId="{9CF51461-CC25-406C-8855-9515F0F0D558}" destId="{5CB77C19-298F-44C0-8BEC-ED6054A7CBF1}" srcOrd="1" destOrd="0" presId="urn:microsoft.com/office/officeart/2005/8/layout/process5"/>
    <dgm:cxn modelId="{E796E055-9CCB-48DA-B2EC-9373763B8045}" type="presOf" srcId="{E071BF67-E42B-422B-AEBE-CDE0D9B8A479}" destId="{D7D8557D-B6CE-4500-9D29-D3562DD86B5E}" srcOrd="0" destOrd="0" presId="urn:microsoft.com/office/officeart/2005/8/layout/process5"/>
    <dgm:cxn modelId="{9375F677-D787-4147-AF63-36A3B44DAC40}" srcId="{F47EA58F-09ED-4798-8F4C-BE46AC0FF87E}" destId="{4A6B5C6D-6E78-4804-8668-A4D204E35A6C}" srcOrd="0" destOrd="0" parTransId="{3B76C237-7EE4-456B-82AC-562A6A59B8AD}" sibTransId="{147B4D86-3C54-4E32-A9EC-13F4863C34AD}"/>
    <dgm:cxn modelId="{6D8D497E-044E-446C-8E5D-D8F45D6650DC}" type="presOf" srcId="{2AF2DA31-0484-4799-B2DF-FFA9FF0D3660}" destId="{CFC085CB-78EE-432B-90B3-76C5AA3AF342}" srcOrd="1" destOrd="0" presId="urn:microsoft.com/office/officeart/2005/8/layout/process5"/>
    <dgm:cxn modelId="{843B9C8F-D05C-4840-AA38-7B7151623D0F}" type="presOf" srcId="{F47EA58F-09ED-4798-8F4C-BE46AC0FF87E}" destId="{DA63434E-8AF8-4FD4-99F4-0CE30D598C3B}" srcOrd="0" destOrd="0" presId="urn:microsoft.com/office/officeart/2005/8/layout/process5"/>
    <dgm:cxn modelId="{EF708396-9113-4BBF-9F51-2655AF6A055A}" type="presOf" srcId="{FF00E7AB-C3AD-46D5-A0B2-7C39D32DCCE5}" destId="{35B489AA-AD12-4474-B2BA-B514A5060D7D}" srcOrd="0" destOrd="0" presId="urn:microsoft.com/office/officeart/2005/8/layout/process5"/>
    <dgm:cxn modelId="{7C5A959B-7B00-43E3-8E33-B0489394CCFA}" type="presOf" srcId="{0B79BEC7-32B3-4CC1-A654-E0ACFD858827}" destId="{5902F681-8E43-4C19-97FD-C748C5BB32F1}" srcOrd="0" destOrd="0" presId="urn:microsoft.com/office/officeart/2005/8/layout/process5"/>
    <dgm:cxn modelId="{4087F4C4-A8B9-46F4-A33A-9288A20815D8}" srcId="{F47EA58F-09ED-4798-8F4C-BE46AC0FF87E}" destId="{123BA00F-0FAD-4128-89C3-246A2F27D0D1}" srcOrd="2" destOrd="0" parTransId="{483CF72F-912C-4704-B42A-7F55798F50BC}" sibTransId="{E071BF67-E42B-422B-AEBE-CDE0D9B8A479}"/>
    <dgm:cxn modelId="{3A5BFCC7-E209-46E4-90BD-3212EE65B257}" type="presOf" srcId="{51315335-2EAE-4D10-ACCA-B9475930F99B}" destId="{70512178-5514-43C7-B22A-029E13BB831F}" srcOrd="0" destOrd="0" presId="urn:microsoft.com/office/officeart/2005/8/layout/process5"/>
    <dgm:cxn modelId="{C9ABD1CE-93B9-4AC4-AC08-BADC6FA756E7}" type="presOf" srcId="{2AF2DA31-0484-4799-B2DF-FFA9FF0D3660}" destId="{6DFE7597-AB4B-4D5C-9803-0267CE063464}" srcOrd="0" destOrd="0" presId="urn:microsoft.com/office/officeart/2005/8/layout/process5"/>
    <dgm:cxn modelId="{8A9914D6-2E87-496A-AD24-B89B1B0927D5}" srcId="{F47EA58F-09ED-4798-8F4C-BE46AC0FF87E}" destId="{CEC7FBFB-3902-4176-9A7A-01E8C962CD07}" srcOrd="5" destOrd="0" parTransId="{1A5009BE-71FA-4BBE-AE37-DCFF9F319F8F}" sibTransId="{06CDEA48-54E6-4836-BA6D-64278E5D00B4}"/>
    <dgm:cxn modelId="{0F7226E1-7525-4DC1-A69B-023CF6BB061A}" type="presOf" srcId="{9CF51461-CC25-406C-8855-9515F0F0D558}" destId="{C657CADF-184D-46D8-81B7-A53028B278D6}" srcOrd="0" destOrd="0" presId="urn:microsoft.com/office/officeart/2005/8/layout/process5"/>
    <dgm:cxn modelId="{19E5FEE6-AF66-4CC0-806E-BE1263A8CFF6}" type="presOf" srcId="{147B4D86-3C54-4E32-A9EC-13F4863C34AD}" destId="{09B485DC-C646-4FD4-800F-F6F4C387AA13}" srcOrd="1" destOrd="0" presId="urn:microsoft.com/office/officeart/2005/8/layout/process5"/>
    <dgm:cxn modelId="{1BD621E8-6215-42EA-86D6-42AC6B986AEA}" type="presOf" srcId="{43841363-0431-45B2-8631-C434134A3B0D}" destId="{1709BAA8-A259-414B-AEE8-871A06F6CF4D}" srcOrd="1" destOrd="0" presId="urn:microsoft.com/office/officeart/2005/8/layout/process5"/>
    <dgm:cxn modelId="{437C46EA-8BD6-44B3-A5C8-B042C49B7F27}" type="presOf" srcId="{06CDEA48-54E6-4836-BA6D-64278E5D00B4}" destId="{A58DAD09-7CBC-4CCB-A64B-8C2A35E60F7C}" srcOrd="0" destOrd="0" presId="urn:microsoft.com/office/officeart/2005/8/layout/process5"/>
    <dgm:cxn modelId="{4549ABF8-6B94-4947-9AF7-8F31B36F613E}" type="presOf" srcId="{123BA00F-0FAD-4128-89C3-246A2F27D0D1}" destId="{8BDBFB12-35C2-431A-A1E6-7128E7FCC869}" srcOrd="0" destOrd="0" presId="urn:microsoft.com/office/officeart/2005/8/layout/process5"/>
    <dgm:cxn modelId="{ABDC548F-DE74-49D2-8D41-BAD22DBB80DD}" type="presParOf" srcId="{DA63434E-8AF8-4FD4-99F4-0CE30D598C3B}" destId="{0BA1B184-55D1-4313-A9B7-B11EFA040AB1}" srcOrd="0" destOrd="0" presId="urn:microsoft.com/office/officeart/2005/8/layout/process5"/>
    <dgm:cxn modelId="{514E9757-5023-4ECC-AD68-CD6E60F56A00}" type="presParOf" srcId="{DA63434E-8AF8-4FD4-99F4-0CE30D598C3B}" destId="{EAC454C6-9F0B-4284-9E9E-FCF97BBE220B}" srcOrd="1" destOrd="0" presId="urn:microsoft.com/office/officeart/2005/8/layout/process5"/>
    <dgm:cxn modelId="{9D5548DE-829D-44FE-8BBA-E33AA9797262}" type="presParOf" srcId="{EAC454C6-9F0B-4284-9E9E-FCF97BBE220B}" destId="{09B485DC-C646-4FD4-800F-F6F4C387AA13}" srcOrd="0" destOrd="0" presId="urn:microsoft.com/office/officeart/2005/8/layout/process5"/>
    <dgm:cxn modelId="{1AC6CA50-6C28-4380-8FFF-171BAA663D2E}" type="presParOf" srcId="{DA63434E-8AF8-4FD4-99F4-0CE30D598C3B}" destId="{5902F681-8E43-4C19-97FD-C748C5BB32F1}" srcOrd="2" destOrd="0" presId="urn:microsoft.com/office/officeart/2005/8/layout/process5"/>
    <dgm:cxn modelId="{CEF9D984-9C69-4B84-95C2-87E5F68159D8}" type="presParOf" srcId="{DA63434E-8AF8-4FD4-99F4-0CE30D598C3B}" destId="{6DFE7597-AB4B-4D5C-9803-0267CE063464}" srcOrd="3" destOrd="0" presId="urn:microsoft.com/office/officeart/2005/8/layout/process5"/>
    <dgm:cxn modelId="{51DCE42F-B598-48D1-8763-49DB30C08FFC}" type="presParOf" srcId="{6DFE7597-AB4B-4D5C-9803-0267CE063464}" destId="{CFC085CB-78EE-432B-90B3-76C5AA3AF342}" srcOrd="0" destOrd="0" presId="urn:microsoft.com/office/officeart/2005/8/layout/process5"/>
    <dgm:cxn modelId="{F42AC949-4F2D-4602-B86F-73E8FC71AF65}" type="presParOf" srcId="{DA63434E-8AF8-4FD4-99F4-0CE30D598C3B}" destId="{8BDBFB12-35C2-431A-A1E6-7128E7FCC869}" srcOrd="4" destOrd="0" presId="urn:microsoft.com/office/officeart/2005/8/layout/process5"/>
    <dgm:cxn modelId="{4A9509EB-E7D5-429F-A18F-C4742FEFF08E}" type="presParOf" srcId="{DA63434E-8AF8-4FD4-99F4-0CE30D598C3B}" destId="{D7D8557D-B6CE-4500-9D29-D3562DD86B5E}" srcOrd="5" destOrd="0" presId="urn:microsoft.com/office/officeart/2005/8/layout/process5"/>
    <dgm:cxn modelId="{C8B865E5-F28B-455B-88F2-9F75669BA8A1}" type="presParOf" srcId="{D7D8557D-B6CE-4500-9D29-D3562DD86B5E}" destId="{2EB9D1A1-E0E8-4F61-B2BF-CE5425DC348E}" srcOrd="0" destOrd="0" presId="urn:microsoft.com/office/officeart/2005/8/layout/process5"/>
    <dgm:cxn modelId="{791FD294-0976-4A99-AAC4-D2C2E3608A74}" type="presParOf" srcId="{DA63434E-8AF8-4FD4-99F4-0CE30D598C3B}" destId="{70512178-5514-43C7-B22A-029E13BB831F}" srcOrd="6" destOrd="0" presId="urn:microsoft.com/office/officeart/2005/8/layout/process5"/>
    <dgm:cxn modelId="{4505BEB8-3C1F-4326-98BC-1C454679F11D}" type="presParOf" srcId="{DA63434E-8AF8-4FD4-99F4-0CE30D598C3B}" destId="{4B71AFD2-9778-47D5-982A-B12D9D76A0E8}" srcOrd="7" destOrd="0" presId="urn:microsoft.com/office/officeart/2005/8/layout/process5"/>
    <dgm:cxn modelId="{45F657CD-E87F-4AA5-A8CF-CB030B048E3F}" type="presParOf" srcId="{4B71AFD2-9778-47D5-982A-B12D9D76A0E8}" destId="{1709BAA8-A259-414B-AEE8-871A06F6CF4D}" srcOrd="0" destOrd="0" presId="urn:microsoft.com/office/officeart/2005/8/layout/process5"/>
    <dgm:cxn modelId="{2746A5A3-7B05-4D9F-8CCE-C65B7B194627}" type="presParOf" srcId="{DA63434E-8AF8-4FD4-99F4-0CE30D598C3B}" destId="{35B489AA-AD12-4474-B2BA-B514A5060D7D}" srcOrd="8" destOrd="0" presId="urn:microsoft.com/office/officeart/2005/8/layout/process5"/>
    <dgm:cxn modelId="{349486D7-6C8E-4A88-8CF3-685F0C306187}" type="presParOf" srcId="{DA63434E-8AF8-4FD4-99F4-0CE30D598C3B}" destId="{C657CADF-184D-46D8-81B7-A53028B278D6}" srcOrd="9" destOrd="0" presId="urn:microsoft.com/office/officeart/2005/8/layout/process5"/>
    <dgm:cxn modelId="{E8B46425-B887-49D3-BE47-EC9657A3588F}" type="presParOf" srcId="{C657CADF-184D-46D8-81B7-A53028B278D6}" destId="{5CB77C19-298F-44C0-8BEC-ED6054A7CBF1}" srcOrd="0" destOrd="0" presId="urn:microsoft.com/office/officeart/2005/8/layout/process5"/>
    <dgm:cxn modelId="{527F5890-53DD-492C-9633-9D99A710C31B}" type="presParOf" srcId="{DA63434E-8AF8-4FD4-99F4-0CE30D598C3B}" destId="{4FA410D2-4C24-4E6E-B42D-9A2CD4E6128D}" srcOrd="10" destOrd="0" presId="urn:microsoft.com/office/officeart/2005/8/layout/process5"/>
    <dgm:cxn modelId="{90BABD3A-4DE9-4B8A-976A-A9325C59B56A}" type="presParOf" srcId="{DA63434E-8AF8-4FD4-99F4-0CE30D598C3B}" destId="{A58DAD09-7CBC-4CCB-A64B-8C2A35E60F7C}" srcOrd="11" destOrd="0" presId="urn:microsoft.com/office/officeart/2005/8/layout/process5"/>
    <dgm:cxn modelId="{610DB5C5-6B4B-448A-A544-39D0B0C246DD}" type="presParOf" srcId="{A58DAD09-7CBC-4CCB-A64B-8C2A35E60F7C}" destId="{37C2EED1-AEB6-4F27-9354-237977BDB2B3}" srcOrd="0" destOrd="0" presId="urn:microsoft.com/office/officeart/2005/8/layout/process5"/>
    <dgm:cxn modelId="{24D1EBBB-DD9A-414F-ABD4-35F6A22428E0}" type="presParOf" srcId="{DA63434E-8AF8-4FD4-99F4-0CE30D598C3B}" destId="{98289DD9-05EE-4866-8F8D-07D6B807EB08}" srcOrd="12" destOrd="0" presId="urn:microsoft.com/office/officeart/2005/8/layout/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22255-DF61-1745-9C3A-3FEDA6B61880}" type="doc">
      <dgm:prSet loTypeId="urn:microsoft.com/office/officeart/2008/layout/VerticalCurvedList" loCatId="" qsTypeId="urn:microsoft.com/office/officeart/2005/8/quickstyle/simple5" qsCatId="simple" csTypeId="urn:microsoft.com/office/officeart/2005/8/colors/accent0_1" csCatId="mainScheme" phldr="1"/>
      <dgm:spPr/>
      <dgm:t>
        <a:bodyPr/>
        <a:lstStyle/>
        <a:p>
          <a:endParaRPr lang="en-US"/>
        </a:p>
      </dgm:t>
    </dgm:pt>
    <dgm:pt modelId="{603C9219-4058-1B47-B800-EEF344FABF51}">
      <dgm:prSet phldrT="[Text]" custT="1"/>
      <dgm:spPr/>
      <dgm:t>
        <a:bodyPr/>
        <a:lstStyle/>
        <a:p>
          <a:pPr marL="0"/>
          <a:r>
            <a:rPr lang="en-US" sz="1100" b="1"/>
            <a:t>1. Injection</a:t>
          </a:r>
          <a:endParaRPr lang="en-US" sz="900" b="1"/>
        </a:p>
      </dgm:t>
    </dgm:pt>
    <dgm:pt modelId="{C129AD8D-844B-DB45-8C4C-77C7E335BAED}" type="parTrans" cxnId="{6D98233D-AAA2-344F-B4D9-A809C2C1E01F}">
      <dgm:prSet/>
      <dgm:spPr/>
      <dgm:t>
        <a:bodyPr/>
        <a:lstStyle/>
        <a:p>
          <a:endParaRPr lang="en-US"/>
        </a:p>
      </dgm:t>
    </dgm:pt>
    <dgm:pt modelId="{7F105B72-973B-FB4C-B96F-3F0316A0C910}" type="sibTrans" cxnId="{6D98233D-AAA2-344F-B4D9-A809C2C1E01F}">
      <dgm:prSet/>
      <dgm:spPr/>
      <dgm:t>
        <a:bodyPr/>
        <a:lstStyle/>
        <a:p>
          <a:endParaRPr lang="en-US"/>
        </a:p>
      </dgm:t>
    </dgm:pt>
    <dgm:pt modelId="{3227356C-B2E5-A04B-BE17-5A958DB2CDC4}">
      <dgm:prSet phldrT="[Text]" custT="1"/>
      <dgm:spPr/>
      <dgm:t>
        <a:bodyPr/>
        <a:lstStyle/>
        <a:p>
          <a:pPr marL="134938" indent="-125413" algn="just">
            <a:buClr>
              <a:schemeClr val="accent6"/>
            </a:buClr>
            <a:buSzPts val="900"/>
            <a:buFont typeface="Arial"/>
            <a:buChar char="►"/>
            <a:tabLst/>
          </a:pPr>
          <a:r>
            <a:rPr lang="en-US" sz="11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gm:t>
    </dgm:pt>
    <dgm:pt modelId="{B8A769C5-E68A-B74B-8155-F1127E3932DE}" type="parTrans" cxnId="{55F70C23-6500-F64B-B1AB-6A7C37409CD7}">
      <dgm:prSet/>
      <dgm:spPr/>
      <dgm:t>
        <a:bodyPr/>
        <a:lstStyle/>
        <a:p>
          <a:endParaRPr lang="en-US"/>
        </a:p>
      </dgm:t>
    </dgm:pt>
    <dgm:pt modelId="{18333C87-7E67-D546-A405-30609C2669F1}" type="sibTrans" cxnId="{55F70C23-6500-F64B-B1AB-6A7C37409CD7}">
      <dgm:prSet/>
      <dgm:spPr/>
      <dgm:t>
        <a:bodyPr/>
        <a:lstStyle/>
        <a:p>
          <a:endParaRPr lang="en-US"/>
        </a:p>
      </dgm:t>
    </dgm:pt>
    <dgm:pt modelId="{3F809109-4738-2D48-9C0F-AB19D1C8AC7C}">
      <dgm:prSet phldrT="[Text]" custT="1"/>
      <dgm:spPr/>
      <dgm:t>
        <a:bodyPr/>
        <a:lstStyle/>
        <a:p>
          <a:pPr marL="0"/>
          <a:r>
            <a:rPr lang="en-US" sz="1100" b="1"/>
            <a:t>2. Broken Authentication &amp; Session Management</a:t>
          </a:r>
          <a:endParaRPr lang="en-US" sz="1000" b="1"/>
        </a:p>
      </dgm:t>
    </dgm:pt>
    <dgm:pt modelId="{B92DD156-B058-DD43-8CF4-C9168B021E24}" type="parTrans" cxnId="{EAD06096-E6C4-294A-8E4A-80385E363857}">
      <dgm:prSet/>
      <dgm:spPr/>
      <dgm:t>
        <a:bodyPr/>
        <a:lstStyle/>
        <a:p>
          <a:endParaRPr lang="en-US"/>
        </a:p>
      </dgm:t>
    </dgm:pt>
    <dgm:pt modelId="{B73BFCD7-ABF6-A443-8F85-5E901FA5111E}" type="sibTrans" cxnId="{EAD06096-E6C4-294A-8E4A-80385E363857}">
      <dgm:prSet/>
      <dgm:spPr/>
      <dgm:t>
        <a:bodyPr/>
        <a:lstStyle/>
        <a:p>
          <a:endParaRPr lang="en-US"/>
        </a:p>
      </dgm:t>
    </dgm:pt>
    <dgm:pt modelId="{CF84F772-DB15-FE40-80D7-C4DBBF6A47F8}">
      <dgm:prSet phldrT="[Text]" custT="1"/>
      <dgm:spPr/>
      <dgm:t>
        <a:bodyPr/>
        <a:lstStyle/>
        <a:p>
          <a:pPr marL="134938" indent="-125413" algn="just">
            <a:buClr>
              <a:schemeClr val="accent6"/>
            </a:buClr>
            <a:buSzPts val="900"/>
            <a:buFont typeface="Arial"/>
            <a:buChar char="►"/>
            <a:tabLst/>
          </a:pPr>
          <a:r>
            <a:rPr lang="en-US" sz="11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gm:t>
    </dgm:pt>
    <dgm:pt modelId="{9FDA3664-3979-6A48-8B7F-83BEB50B6997}" type="parTrans" cxnId="{46CB7B6F-FAB2-8146-A5EB-5AE617EE4BF0}">
      <dgm:prSet/>
      <dgm:spPr/>
      <dgm:t>
        <a:bodyPr/>
        <a:lstStyle/>
        <a:p>
          <a:endParaRPr lang="en-US"/>
        </a:p>
      </dgm:t>
    </dgm:pt>
    <dgm:pt modelId="{28F0C438-005D-814D-8DC1-635925E65F9E}" type="sibTrans" cxnId="{46CB7B6F-FAB2-8146-A5EB-5AE617EE4BF0}">
      <dgm:prSet/>
      <dgm:spPr/>
      <dgm:t>
        <a:bodyPr/>
        <a:lstStyle/>
        <a:p>
          <a:endParaRPr lang="en-US"/>
        </a:p>
      </dgm:t>
    </dgm:pt>
    <dgm:pt modelId="{CF3FBD72-A594-2C4E-BE33-99935BF99FF5}">
      <dgm:prSet phldrT="[Text]" custT="1"/>
      <dgm:spPr/>
      <dgm:t>
        <a:bodyPr/>
        <a:lstStyle/>
        <a:p>
          <a:pPr>
            <a:buClr>
              <a:srgbClr val="404040"/>
            </a:buClr>
            <a:buSzPct val="100000"/>
            <a:buNone/>
          </a:pPr>
          <a:r>
            <a:rPr lang="en-US" sz="1100" b="1"/>
            <a:t>3. Sensitive Data Exposure</a:t>
          </a:r>
          <a:endParaRPr lang="en-US" sz="1000" b="1"/>
        </a:p>
      </dgm:t>
    </dgm:pt>
    <dgm:pt modelId="{EE4EA52F-38A8-184F-865F-4DD339111F0E}" type="parTrans" cxnId="{521510FD-19B9-014E-8F47-D558A5A107F7}">
      <dgm:prSet/>
      <dgm:spPr/>
      <dgm:t>
        <a:bodyPr/>
        <a:lstStyle/>
        <a:p>
          <a:endParaRPr lang="en-US"/>
        </a:p>
      </dgm:t>
    </dgm:pt>
    <dgm:pt modelId="{B8D5CDD1-6CAB-DC4D-A9C3-342DB521D282}" type="sibTrans" cxnId="{521510FD-19B9-014E-8F47-D558A5A107F7}">
      <dgm:prSet/>
      <dgm:spPr/>
      <dgm:t>
        <a:bodyPr/>
        <a:lstStyle/>
        <a:p>
          <a:endParaRPr lang="en-US"/>
        </a:p>
      </dgm:t>
    </dgm:pt>
    <dgm:pt modelId="{7075185B-1445-5B46-A9D2-B8C72F3FDF28}">
      <dgm:prSet phldrT="[Text]" custT="1"/>
      <dgm:spPr/>
      <dgm:t>
        <a:bodyPr/>
        <a:lstStyle/>
        <a:p>
          <a:pPr algn="just">
            <a:buClr>
              <a:schemeClr val="accent6"/>
            </a:buClr>
            <a:buSzPts val="900"/>
            <a:buFont typeface="Arial"/>
            <a:buChar char="►"/>
          </a:pPr>
          <a:r>
            <a:rPr lang="en-US" sz="11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a:p>
      </dgm:t>
    </dgm:pt>
    <dgm:pt modelId="{321C6E15-5C7C-364B-8BD5-CE050DAB1B17}" type="parTrans" cxnId="{83125EF8-BB95-1944-AE7C-2268CA202F08}">
      <dgm:prSet/>
      <dgm:spPr/>
      <dgm:t>
        <a:bodyPr/>
        <a:lstStyle/>
        <a:p>
          <a:endParaRPr lang="en-US"/>
        </a:p>
      </dgm:t>
    </dgm:pt>
    <dgm:pt modelId="{6F36D3DE-2B75-8E4D-90EA-3C1A9B1168F4}" type="sibTrans" cxnId="{83125EF8-BB95-1944-AE7C-2268CA202F08}">
      <dgm:prSet/>
      <dgm:spPr/>
      <dgm:t>
        <a:bodyPr/>
        <a:lstStyle/>
        <a:p>
          <a:endParaRPr lang="en-US"/>
        </a:p>
      </dgm:t>
    </dgm:pt>
    <dgm:pt modelId="{B020A614-FF7A-E443-8E75-5C777A2A08A2}">
      <dgm:prSet custT="1"/>
      <dgm:spPr/>
      <dgm:t>
        <a:bodyPr/>
        <a:lstStyle/>
        <a:p>
          <a:pPr>
            <a:buClr>
              <a:srgbClr val="404040"/>
            </a:buClr>
            <a:buSzPct val="100000"/>
            <a:buNone/>
          </a:pPr>
          <a:r>
            <a:rPr lang="en-US" sz="1100" b="1"/>
            <a:t>4. XML External Entities (XXE)</a:t>
          </a:r>
          <a:endParaRPr lang="en-US" sz="1000" b="1"/>
        </a:p>
      </dgm:t>
    </dgm:pt>
    <dgm:pt modelId="{84C48B02-9189-204D-942A-D0D5E2003AC5}" type="parTrans" cxnId="{B8E8CC90-20CB-EA4A-80E0-912B3B014C0D}">
      <dgm:prSet/>
      <dgm:spPr/>
      <dgm:t>
        <a:bodyPr/>
        <a:lstStyle/>
        <a:p>
          <a:endParaRPr lang="en-US"/>
        </a:p>
      </dgm:t>
    </dgm:pt>
    <dgm:pt modelId="{7967F0D3-2AB2-C348-8186-BD72B3585F6A}" type="sibTrans" cxnId="{B8E8CC90-20CB-EA4A-80E0-912B3B014C0D}">
      <dgm:prSet/>
      <dgm:spPr/>
      <dgm:t>
        <a:bodyPr/>
        <a:lstStyle/>
        <a:p>
          <a:endParaRPr lang="en-US"/>
        </a:p>
      </dgm:t>
    </dgm:pt>
    <dgm:pt modelId="{1F35EB34-A8DE-164C-AC37-07506810C14F}">
      <dgm:prSet custT="1"/>
      <dgm:spPr/>
      <dgm:t>
        <a:bodyPr/>
        <a:lstStyle/>
        <a:p>
          <a:pPr>
            <a:buClr>
              <a:srgbClr val="404040"/>
            </a:buClr>
            <a:buSzPct val="100000"/>
            <a:buNone/>
          </a:pPr>
          <a:r>
            <a:rPr lang="en-US" sz="1100" b="1"/>
            <a:t>5. Broken Access Control</a:t>
          </a:r>
        </a:p>
      </dgm:t>
    </dgm:pt>
    <dgm:pt modelId="{929B14F6-4D78-D94C-B329-E4C39219D422}" type="parTrans" cxnId="{E3188087-01F7-B44A-94E1-AEC23BC0ED63}">
      <dgm:prSet/>
      <dgm:spPr/>
      <dgm:t>
        <a:bodyPr/>
        <a:lstStyle/>
        <a:p>
          <a:endParaRPr lang="en-US"/>
        </a:p>
      </dgm:t>
    </dgm:pt>
    <dgm:pt modelId="{B99EE6E6-4D9A-6A47-A3E7-529B7B70B2A7}" type="sibTrans" cxnId="{E3188087-01F7-B44A-94E1-AEC23BC0ED63}">
      <dgm:prSet/>
      <dgm:spPr/>
      <dgm:t>
        <a:bodyPr/>
        <a:lstStyle/>
        <a:p>
          <a:endParaRPr lang="en-US"/>
        </a:p>
      </dgm:t>
    </dgm:pt>
    <dgm:pt modelId="{B0073BD9-2EB9-8B43-9207-24B31CC4D486}">
      <dgm:prSet custT="1"/>
      <dgm:spPr/>
      <dgm:t>
        <a:bodyPr/>
        <a:lstStyle/>
        <a:p>
          <a:pPr algn="just">
            <a:buClr>
              <a:schemeClr val="accent6"/>
            </a:buClr>
            <a:buSzPts val="900"/>
            <a:buFont typeface="Arial"/>
            <a:buChar char="►"/>
          </a:pPr>
          <a:r>
            <a:rPr lang="en-US" sz="11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gm:t>
    </dgm:pt>
    <dgm:pt modelId="{F0516307-1CDA-7248-9D6E-97094660BEBA}" type="parTrans" cxnId="{47839AD8-A0B4-4C42-820D-E313244060F8}">
      <dgm:prSet/>
      <dgm:spPr/>
      <dgm:t>
        <a:bodyPr/>
        <a:lstStyle/>
        <a:p>
          <a:endParaRPr lang="en-US"/>
        </a:p>
      </dgm:t>
    </dgm:pt>
    <dgm:pt modelId="{3B8CF022-F7D4-8142-BF65-E5E04BF129B6}" type="sibTrans" cxnId="{47839AD8-A0B4-4C42-820D-E313244060F8}">
      <dgm:prSet/>
      <dgm:spPr/>
      <dgm:t>
        <a:bodyPr/>
        <a:lstStyle/>
        <a:p>
          <a:endParaRPr lang="en-US"/>
        </a:p>
      </dgm:t>
    </dgm:pt>
    <dgm:pt modelId="{F24AAF78-FBAA-FA46-B89D-7C5683F5E645}">
      <dgm:prSet custT="1"/>
      <dgm:spPr/>
      <dgm:t>
        <a:bodyPr/>
        <a:lstStyle/>
        <a:p>
          <a:pPr algn="just">
            <a:buClr>
              <a:schemeClr val="accent6"/>
            </a:buClr>
            <a:buSzPts val="900"/>
            <a:buFont typeface="Arial"/>
            <a:buChar char="►"/>
          </a:pPr>
          <a:r>
            <a:rPr lang="en-US" sz="11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gm:t>
    </dgm:pt>
    <dgm:pt modelId="{ACB00FD3-D274-0B45-A16C-D4A12DFB5A89}" type="parTrans" cxnId="{5B073095-EC0F-184B-A28C-3955096357D2}">
      <dgm:prSet/>
      <dgm:spPr/>
      <dgm:t>
        <a:bodyPr/>
        <a:lstStyle/>
        <a:p>
          <a:endParaRPr lang="en-US"/>
        </a:p>
      </dgm:t>
    </dgm:pt>
    <dgm:pt modelId="{289363C2-4DF2-3C4B-A22D-2A8B8D8D88F2}" type="sibTrans" cxnId="{5B073095-EC0F-184B-A28C-3955096357D2}">
      <dgm:prSet/>
      <dgm:spPr/>
      <dgm:t>
        <a:bodyPr/>
        <a:lstStyle/>
        <a:p>
          <a:endParaRPr lang="en-US"/>
        </a:p>
      </dgm:t>
    </dgm:pt>
    <dgm:pt modelId="{3AD1150F-207F-BD43-9F6D-D5D6C310DBFA}" type="pres">
      <dgm:prSet presAssocID="{63322255-DF61-1745-9C3A-3FEDA6B61880}" presName="Name0" presStyleCnt="0">
        <dgm:presLayoutVars>
          <dgm:chMax val="7"/>
          <dgm:chPref val="7"/>
          <dgm:dir/>
        </dgm:presLayoutVars>
      </dgm:prSet>
      <dgm:spPr/>
    </dgm:pt>
    <dgm:pt modelId="{16E788E5-B1E3-F241-8582-AA90F71AF465}" type="pres">
      <dgm:prSet presAssocID="{63322255-DF61-1745-9C3A-3FEDA6B61880}" presName="Name1" presStyleCnt="0"/>
      <dgm:spPr/>
    </dgm:pt>
    <dgm:pt modelId="{E1CDB24A-FD82-4040-8931-61277575D40E}" type="pres">
      <dgm:prSet presAssocID="{63322255-DF61-1745-9C3A-3FEDA6B61880}" presName="cycle" presStyleCnt="0"/>
      <dgm:spPr/>
    </dgm:pt>
    <dgm:pt modelId="{9DA99C03-A1B0-6B40-9309-DB4D5B002026}" type="pres">
      <dgm:prSet presAssocID="{63322255-DF61-1745-9C3A-3FEDA6B61880}" presName="srcNode" presStyleLbl="node1" presStyleIdx="0" presStyleCnt="5"/>
      <dgm:spPr/>
    </dgm:pt>
    <dgm:pt modelId="{5348B5F1-4181-484D-97DF-A1059982319E}" type="pres">
      <dgm:prSet presAssocID="{63322255-DF61-1745-9C3A-3FEDA6B61880}" presName="conn" presStyleLbl="parChTrans1D2" presStyleIdx="0" presStyleCnt="1"/>
      <dgm:spPr/>
    </dgm:pt>
    <dgm:pt modelId="{54CD5CE7-6026-9241-8464-6F2EE7B5CBBF}" type="pres">
      <dgm:prSet presAssocID="{63322255-DF61-1745-9C3A-3FEDA6B61880}" presName="extraNode" presStyleLbl="node1" presStyleIdx="0" presStyleCnt="5"/>
      <dgm:spPr/>
    </dgm:pt>
    <dgm:pt modelId="{56F97629-2AD9-5348-A3CD-316C7845E047}" type="pres">
      <dgm:prSet presAssocID="{63322255-DF61-1745-9C3A-3FEDA6B61880}" presName="dstNode" presStyleLbl="node1" presStyleIdx="0" presStyleCnt="5"/>
      <dgm:spPr/>
    </dgm:pt>
    <dgm:pt modelId="{DFE06AE1-767E-624A-AB4E-5A10DDCB0E62}" type="pres">
      <dgm:prSet presAssocID="{603C9219-4058-1B47-B800-EEF344FABF51}" presName="text_1" presStyleLbl="node1" presStyleIdx="0" presStyleCnt="5">
        <dgm:presLayoutVars>
          <dgm:bulletEnabled val="1"/>
        </dgm:presLayoutVars>
      </dgm:prSet>
      <dgm:spPr/>
    </dgm:pt>
    <dgm:pt modelId="{C7C86832-B77E-CC4A-B8EB-B46B2474063D}" type="pres">
      <dgm:prSet presAssocID="{603C9219-4058-1B47-B800-EEF344FABF51}" presName="accent_1" presStyleCnt="0"/>
      <dgm:spPr/>
    </dgm:pt>
    <dgm:pt modelId="{E3AE2878-6229-0441-B393-15734D716D43}" type="pres">
      <dgm:prSet presAssocID="{603C9219-4058-1B47-B800-EEF344FABF51}" presName="accentRepeatNode" presStyleLbl="solidFgAcc1" presStyleIdx="0" presStyleCnt="5"/>
      <dgm:spPr>
        <a:solidFill>
          <a:schemeClr val="tx1">
            <a:lumMod val="50000"/>
            <a:lumOff val="50000"/>
          </a:schemeClr>
        </a:solidFill>
      </dgm:spPr>
    </dgm:pt>
    <dgm:pt modelId="{8CE72702-5823-CE45-A333-7FF2F8CC4DDD}" type="pres">
      <dgm:prSet presAssocID="{3F809109-4738-2D48-9C0F-AB19D1C8AC7C}" presName="text_2" presStyleLbl="node1" presStyleIdx="1" presStyleCnt="5" custScaleY="114435">
        <dgm:presLayoutVars>
          <dgm:bulletEnabled val="1"/>
        </dgm:presLayoutVars>
      </dgm:prSet>
      <dgm:spPr/>
    </dgm:pt>
    <dgm:pt modelId="{F88E9C45-A30C-3742-B2CD-22EF0870D347}" type="pres">
      <dgm:prSet presAssocID="{3F809109-4738-2D48-9C0F-AB19D1C8AC7C}" presName="accent_2" presStyleCnt="0"/>
      <dgm:spPr/>
    </dgm:pt>
    <dgm:pt modelId="{DC0C40A8-0757-1544-95F4-ABF1324A052D}" type="pres">
      <dgm:prSet presAssocID="{3F809109-4738-2D48-9C0F-AB19D1C8AC7C}" presName="accentRepeatNode" presStyleLbl="solidFgAcc1" presStyleIdx="1" presStyleCnt="5"/>
      <dgm:spPr>
        <a:solidFill>
          <a:schemeClr val="tx1">
            <a:lumMod val="50000"/>
            <a:lumOff val="50000"/>
          </a:schemeClr>
        </a:solidFill>
      </dgm:spPr>
    </dgm:pt>
    <dgm:pt modelId="{FC810055-A76C-A849-AB76-B9984EF56E99}" type="pres">
      <dgm:prSet presAssocID="{CF3FBD72-A594-2C4E-BE33-99935BF99FF5}" presName="text_3" presStyleLbl="node1" presStyleIdx="2" presStyleCnt="5" custScaleY="115364">
        <dgm:presLayoutVars>
          <dgm:bulletEnabled val="1"/>
        </dgm:presLayoutVars>
      </dgm:prSet>
      <dgm:spPr/>
    </dgm:pt>
    <dgm:pt modelId="{EAFF3A1C-A573-294B-BF5C-3AE53020264E}" type="pres">
      <dgm:prSet presAssocID="{CF3FBD72-A594-2C4E-BE33-99935BF99FF5}" presName="accent_3" presStyleCnt="0"/>
      <dgm:spPr/>
    </dgm:pt>
    <dgm:pt modelId="{EDE5AA83-E79B-6249-94F0-2EEF61C4AE9C}" type="pres">
      <dgm:prSet presAssocID="{CF3FBD72-A594-2C4E-BE33-99935BF99FF5}" presName="accentRepeatNode" presStyleLbl="solidFgAcc1" presStyleIdx="2" presStyleCnt="5"/>
      <dgm:spPr>
        <a:solidFill>
          <a:schemeClr val="tx1">
            <a:lumMod val="50000"/>
            <a:lumOff val="50000"/>
          </a:schemeClr>
        </a:solidFill>
      </dgm:spPr>
    </dgm:pt>
    <dgm:pt modelId="{881F34CF-9AFB-D044-94F0-6E519FC8A228}" type="pres">
      <dgm:prSet presAssocID="{B020A614-FF7A-E443-8E75-5C777A2A08A2}" presName="text_4" presStyleLbl="node1" presStyleIdx="3" presStyleCnt="5" custScaleY="121485">
        <dgm:presLayoutVars>
          <dgm:bulletEnabled val="1"/>
        </dgm:presLayoutVars>
      </dgm:prSet>
      <dgm:spPr/>
    </dgm:pt>
    <dgm:pt modelId="{3A0D63D9-BC8C-5B4D-9F71-DE088B544536}" type="pres">
      <dgm:prSet presAssocID="{B020A614-FF7A-E443-8E75-5C777A2A08A2}" presName="accent_4" presStyleCnt="0"/>
      <dgm:spPr/>
    </dgm:pt>
    <dgm:pt modelId="{2F3E8387-38C3-D549-B9D3-B2B43610CB07}" type="pres">
      <dgm:prSet presAssocID="{B020A614-FF7A-E443-8E75-5C777A2A08A2}" presName="accentRepeatNode" presStyleLbl="solidFgAcc1" presStyleIdx="3" presStyleCnt="5"/>
      <dgm:spPr>
        <a:solidFill>
          <a:schemeClr val="tx1">
            <a:lumMod val="50000"/>
            <a:lumOff val="50000"/>
          </a:schemeClr>
        </a:solidFill>
      </dgm:spPr>
    </dgm:pt>
    <dgm:pt modelId="{3751B8D0-70E9-D741-9C58-528213264916}" type="pres">
      <dgm:prSet presAssocID="{1F35EB34-A8DE-164C-AC37-07506810C14F}" presName="text_5" presStyleLbl="node1" presStyleIdx="4" presStyleCnt="5">
        <dgm:presLayoutVars>
          <dgm:bulletEnabled val="1"/>
        </dgm:presLayoutVars>
      </dgm:prSet>
      <dgm:spPr/>
    </dgm:pt>
    <dgm:pt modelId="{77C7578E-4A65-5F49-93B0-6EE4896CF3F0}" type="pres">
      <dgm:prSet presAssocID="{1F35EB34-A8DE-164C-AC37-07506810C14F}" presName="accent_5" presStyleCnt="0"/>
      <dgm:spPr/>
    </dgm:pt>
    <dgm:pt modelId="{E18C93D3-3D15-4A43-B367-F8768440F9F7}" type="pres">
      <dgm:prSet presAssocID="{1F35EB34-A8DE-164C-AC37-07506810C14F}" presName="accentRepeatNode" presStyleLbl="solidFgAcc1" presStyleIdx="4" presStyleCnt="5"/>
      <dgm:spPr>
        <a:solidFill>
          <a:schemeClr val="tx1">
            <a:lumMod val="50000"/>
            <a:lumOff val="50000"/>
          </a:schemeClr>
        </a:solidFill>
      </dgm:spPr>
    </dgm:pt>
  </dgm:ptLst>
  <dgm:cxnLst>
    <dgm:cxn modelId="{05899606-0CD9-874D-9512-98EA7D7630CD}" type="presOf" srcId="{B0073BD9-2EB9-8B43-9207-24B31CC4D486}" destId="{881F34CF-9AFB-D044-94F0-6E519FC8A228}" srcOrd="0" destOrd="1" presId="urn:microsoft.com/office/officeart/2008/layout/VerticalCurvedList"/>
    <dgm:cxn modelId="{55F70C23-6500-F64B-B1AB-6A7C37409CD7}" srcId="{603C9219-4058-1B47-B800-EEF344FABF51}" destId="{3227356C-B2E5-A04B-BE17-5A958DB2CDC4}" srcOrd="0" destOrd="0" parTransId="{B8A769C5-E68A-B74B-8155-F1127E3932DE}" sibTransId="{18333C87-7E67-D546-A405-30609C2669F1}"/>
    <dgm:cxn modelId="{6D98233D-AAA2-344F-B4D9-A809C2C1E01F}" srcId="{63322255-DF61-1745-9C3A-3FEDA6B61880}" destId="{603C9219-4058-1B47-B800-EEF344FABF51}" srcOrd="0" destOrd="0" parTransId="{C129AD8D-844B-DB45-8C4C-77C7E335BAED}" sibTransId="{7F105B72-973B-FB4C-B96F-3F0316A0C910}"/>
    <dgm:cxn modelId="{771F225B-32EA-8042-8EC6-2BDAF52CC5F0}" type="presOf" srcId="{CF84F772-DB15-FE40-80D7-C4DBBF6A47F8}" destId="{8CE72702-5823-CE45-A333-7FF2F8CC4DDD}" srcOrd="0" destOrd="1" presId="urn:microsoft.com/office/officeart/2008/layout/VerticalCurvedList"/>
    <dgm:cxn modelId="{2A57FA60-7E52-5344-A0FB-B23266EAEFA0}" type="presOf" srcId="{18333C87-7E67-D546-A405-30609C2669F1}" destId="{5348B5F1-4181-484D-97DF-A1059982319E}" srcOrd="0" destOrd="0" presId="urn:microsoft.com/office/officeart/2008/layout/VerticalCurvedList"/>
    <dgm:cxn modelId="{6FEB2E4D-0A9D-0741-904A-90F0A6DDE6AE}" type="presOf" srcId="{7075185B-1445-5B46-A9D2-B8C72F3FDF28}" destId="{FC810055-A76C-A849-AB76-B9984EF56E99}" srcOrd="0" destOrd="1" presId="urn:microsoft.com/office/officeart/2008/layout/VerticalCurvedList"/>
    <dgm:cxn modelId="{46CB7B6F-FAB2-8146-A5EB-5AE617EE4BF0}" srcId="{3F809109-4738-2D48-9C0F-AB19D1C8AC7C}" destId="{CF84F772-DB15-FE40-80D7-C4DBBF6A47F8}" srcOrd="0" destOrd="0" parTransId="{9FDA3664-3979-6A48-8B7F-83BEB50B6997}" sibTransId="{28F0C438-005D-814D-8DC1-635925E65F9E}"/>
    <dgm:cxn modelId="{DE560C51-A8DB-A648-A905-66737A4D4009}" type="presOf" srcId="{CF3FBD72-A594-2C4E-BE33-99935BF99FF5}" destId="{FC810055-A76C-A849-AB76-B9984EF56E99}" srcOrd="0" destOrd="0" presId="urn:microsoft.com/office/officeart/2008/layout/VerticalCurvedList"/>
    <dgm:cxn modelId="{19F3D253-136C-D145-AC92-FFB661A6A0A1}" type="presOf" srcId="{B020A614-FF7A-E443-8E75-5C777A2A08A2}" destId="{881F34CF-9AFB-D044-94F0-6E519FC8A228}" srcOrd="0" destOrd="0" presId="urn:microsoft.com/office/officeart/2008/layout/VerticalCurvedList"/>
    <dgm:cxn modelId="{9BA6DF58-563A-0141-B92F-1F812A9DDE45}" type="presOf" srcId="{1F35EB34-A8DE-164C-AC37-07506810C14F}" destId="{3751B8D0-70E9-D741-9C58-528213264916}" srcOrd="0" destOrd="0" presId="urn:microsoft.com/office/officeart/2008/layout/VerticalCurvedList"/>
    <dgm:cxn modelId="{38682B5A-D8D8-CB4C-A659-7ADF7E1337F5}" type="presOf" srcId="{3F809109-4738-2D48-9C0F-AB19D1C8AC7C}" destId="{8CE72702-5823-CE45-A333-7FF2F8CC4DDD}" srcOrd="0" destOrd="0" presId="urn:microsoft.com/office/officeart/2008/layout/VerticalCurvedList"/>
    <dgm:cxn modelId="{E3188087-01F7-B44A-94E1-AEC23BC0ED63}" srcId="{63322255-DF61-1745-9C3A-3FEDA6B61880}" destId="{1F35EB34-A8DE-164C-AC37-07506810C14F}" srcOrd="4" destOrd="0" parTransId="{929B14F6-4D78-D94C-B329-E4C39219D422}" sibTransId="{B99EE6E6-4D9A-6A47-A3E7-529B7B70B2A7}"/>
    <dgm:cxn modelId="{B8E8CC90-20CB-EA4A-80E0-912B3B014C0D}" srcId="{63322255-DF61-1745-9C3A-3FEDA6B61880}" destId="{B020A614-FF7A-E443-8E75-5C777A2A08A2}" srcOrd="3" destOrd="0" parTransId="{84C48B02-9189-204D-942A-D0D5E2003AC5}" sibTransId="{7967F0D3-2AB2-C348-8186-BD72B3585F6A}"/>
    <dgm:cxn modelId="{5B073095-EC0F-184B-A28C-3955096357D2}" srcId="{1F35EB34-A8DE-164C-AC37-07506810C14F}" destId="{F24AAF78-FBAA-FA46-B89D-7C5683F5E645}" srcOrd="0" destOrd="0" parTransId="{ACB00FD3-D274-0B45-A16C-D4A12DFB5A89}" sibTransId="{289363C2-4DF2-3C4B-A22D-2A8B8D8D88F2}"/>
    <dgm:cxn modelId="{EAD06096-E6C4-294A-8E4A-80385E363857}" srcId="{63322255-DF61-1745-9C3A-3FEDA6B61880}" destId="{3F809109-4738-2D48-9C0F-AB19D1C8AC7C}" srcOrd="1" destOrd="0" parTransId="{B92DD156-B058-DD43-8CF4-C9168B021E24}" sibTransId="{B73BFCD7-ABF6-A443-8F85-5E901FA5111E}"/>
    <dgm:cxn modelId="{22A8909D-8A72-0140-BBDB-A2C723398693}" type="presOf" srcId="{63322255-DF61-1745-9C3A-3FEDA6B61880}" destId="{3AD1150F-207F-BD43-9F6D-D5D6C310DBFA}" srcOrd="0" destOrd="0" presId="urn:microsoft.com/office/officeart/2008/layout/VerticalCurvedList"/>
    <dgm:cxn modelId="{47839AD8-A0B4-4C42-820D-E313244060F8}" srcId="{B020A614-FF7A-E443-8E75-5C777A2A08A2}" destId="{B0073BD9-2EB9-8B43-9207-24B31CC4D486}" srcOrd="0" destOrd="0" parTransId="{F0516307-1CDA-7248-9D6E-97094660BEBA}" sibTransId="{3B8CF022-F7D4-8142-BF65-E5E04BF129B6}"/>
    <dgm:cxn modelId="{E6145EE2-44DD-5D41-B164-659B43050353}" type="presOf" srcId="{3227356C-B2E5-A04B-BE17-5A958DB2CDC4}" destId="{DFE06AE1-767E-624A-AB4E-5A10DDCB0E62}" srcOrd="0" destOrd="1" presId="urn:microsoft.com/office/officeart/2008/layout/VerticalCurvedList"/>
    <dgm:cxn modelId="{6DAD67F0-0ECD-1847-858E-D301151DDB71}" type="presOf" srcId="{603C9219-4058-1B47-B800-EEF344FABF51}" destId="{DFE06AE1-767E-624A-AB4E-5A10DDCB0E62}" srcOrd="0" destOrd="0" presId="urn:microsoft.com/office/officeart/2008/layout/VerticalCurvedList"/>
    <dgm:cxn modelId="{83125EF8-BB95-1944-AE7C-2268CA202F08}" srcId="{CF3FBD72-A594-2C4E-BE33-99935BF99FF5}" destId="{7075185B-1445-5B46-A9D2-B8C72F3FDF28}" srcOrd="0" destOrd="0" parTransId="{321C6E15-5C7C-364B-8BD5-CE050DAB1B17}" sibTransId="{6F36D3DE-2B75-8E4D-90EA-3C1A9B1168F4}"/>
    <dgm:cxn modelId="{6EE1F2FA-9349-4D46-AD15-60628601E3CB}" type="presOf" srcId="{F24AAF78-FBAA-FA46-B89D-7C5683F5E645}" destId="{3751B8D0-70E9-D741-9C58-528213264916}" srcOrd="0" destOrd="1" presId="urn:microsoft.com/office/officeart/2008/layout/VerticalCurvedList"/>
    <dgm:cxn modelId="{521510FD-19B9-014E-8F47-D558A5A107F7}" srcId="{63322255-DF61-1745-9C3A-3FEDA6B61880}" destId="{CF3FBD72-A594-2C4E-BE33-99935BF99FF5}" srcOrd="2" destOrd="0" parTransId="{EE4EA52F-38A8-184F-865F-4DD339111F0E}" sibTransId="{B8D5CDD1-6CAB-DC4D-A9C3-342DB521D282}"/>
    <dgm:cxn modelId="{2882D644-F76B-7845-9A0B-3AC78C516380}" type="presParOf" srcId="{3AD1150F-207F-BD43-9F6D-D5D6C310DBFA}" destId="{16E788E5-B1E3-F241-8582-AA90F71AF465}" srcOrd="0" destOrd="0" presId="urn:microsoft.com/office/officeart/2008/layout/VerticalCurvedList"/>
    <dgm:cxn modelId="{42943783-4CB3-F340-8AA2-9977BAA2F5B5}" type="presParOf" srcId="{16E788E5-B1E3-F241-8582-AA90F71AF465}" destId="{E1CDB24A-FD82-4040-8931-61277575D40E}" srcOrd="0" destOrd="0" presId="urn:microsoft.com/office/officeart/2008/layout/VerticalCurvedList"/>
    <dgm:cxn modelId="{68E94F4F-AB15-6140-9B16-D7716532CA6C}" type="presParOf" srcId="{E1CDB24A-FD82-4040-8931-61277575D40E}" destId="{9DA99C03-A1B0-6B40-9309-DB4D5B002026}" srcOrd="0" destOrd="0" presId="urn:microsoft.com/office/officeart/2008/layout/VerticalCurvedList"/>
    <dgm:cxn modelId="{41A55203-5013-0345-B123-5C7F59D2BE58}" type="presParOf" srcId="{E1CDB24A-FD82-4040-8931-61277575D40E}" destId="{5348B5F1-4181-484D-97DF-A1059982319E}" srcOrd="1" destOrd="0" presId="urn:microsoft.com/office/officeart/2008/layout/VerticalCurvedList"/>
    <dgm:cxn modelId="{2EAC063B-BEC0-F148-8CB2-189DA0D6ED70}" type="presParOf" srcId="{E1CDB24A-FD82-4040-8931-61277575D40E}" destId="{54CD5CE7-6026-9241-8464-6F2EE7B5CBBF}" srcOrd="2" destOrd="0" presId="urn:microsoft.com/office/officeart/2008/layout/VerticalCurvedList"/>
    <dgm:cxn modelId="{04E929D4-A46E-F44D-8060-11029A6FDDE3}" type="presParOf" srcId="{E1CDB24A-FD82-4040-8931-61277575D40E}" destId="{56F97629-2AD9-5348-A3CD-316C7845E047}" srcOrd="3" destOrd="0" presId="urn:microsoft.com/office/officeart/2008/layout/VerticalCurvedList"/>
    <dgm:cxn modelId="{9C6BE85D-65D7-AB4D-BD7D-AA05313BC35D}" type="presParOf" srcId="{16E788E5-B1E3-F241-8582-AA90F71AF465}" destId="{DFE06AE1-767E-624A-AB4E-5A10DDCB0E62}" srcOrd="1" destOrd="0" presId="urn:microsoft.com/office/officeart/2008/layout/VerticalCurvedList"/>
    <dgm:cxn modelId="{4582CDE3-9513-364B-9D3A-EAC1A3144E44}" type="presParOf" srcId="{16E788E5-B1E3-F241-8582-AA90F71AF465}" destId="{C7C86832-B77E-CC4A-B8EB-B46B2474063D}" srcOrd="2" destOrd="0" presId="urn:microsoft.com/office/officeart/2008/layout/VerticalCurvedList"/>
    <dgm:cxn modelId="{011596BE-D1FA-3641-87B3-3FBFEE137236}" type="presParOf" srcId="{C7C86832-B77E-CC4A-B8EB-B46B2474063D}" destId="{E3AE2878-6229-0441-B393-15734D716D43}" srcOrd="0" destOrd="0" presId="urn:microsoft.com/office/officeart/2008/layout/VerticalCurvedList"/>
    <dgm:cxn modelId="{5FD47FB3-7E9E-1846-946A-A92E62C64576}" type="presParOf" srcId="{16E788E5-B1E3-F241-8582-AA90F71AF465}" destId="{8CE72702-5823-CE45-A333-7FF2F8CC4DDD}" srcOrd="3" destOrd="0" presId="urn:microsoft.com/office/officeart/2008/layout/VerticalCurvedList"/>
    <dgm:cxn modelId="{74BF0A44-A78B-F648-954E-0A27165AD51E}" type="presParOf" srcId="{16E788E5-B1E3-F241-8582-AA90F71AF465}" destId="{F88E9C45-A30C-3742-B2CD-22EF0870D347}" srcOrd="4" destOrd="0" presId="urn:microsoft.com/office/officeart/2008/layout/VerticalCurvedList"/>
    <dgm:cxn modelId="{534D0D7A-4348-994B-9ED9-3DA0BC19FF2F}" type="presParOf" srcId="{F88E9C45-A30C-3742-B2CD-22EF0870D347}" destId="{DC0C40A8-0757-1544-95F4-ABF1324A052D}" srcOrd="0" destOrd="0" presId="urn:microsoft.com/office/officeart/2008/layout/VerticalCurvedList"/>
    <dgm:cxn modelId="{6A0AAB5E-37E8-D648-8C70-FB11EAB180B9}" type="presParOf" srcId="{16E788E5-B1E3-F241-8582-AA90F71AF465}" destId="{FC810055-A76C-A849-AB76-B9984EF56E99}" srcOrd="5" destOrd="0" presId="urn:microsoft.com/office/officeart/2008/layout/VerticalCurvedList"/>
    <dgm:cxn modelId="{27CEADF0-48F3-AC42-B236-D177F39991D0}" type="presParOf" srcId="{16E788E5-B1E3-F241-8582-AA90F71AF465}" destId="{EAFF3A1C-A573-294B-BF5C-3AE53020264E}" srcOrd="6" destOrd="0" presId="urn:microsoft.com/office/officeart/2008/layout/VerticalCurvedList"/>
    <dgm:cxn modelId="{53776FE6-E196-7445-B31E-8731E717F9BC}" type="presParOf" srcId="{EAFF3A1C-A573-294B-BF5C-3AE53020264E}" destId="{EDE5AA83-E79B-6249-94F0-2EEF61C4AE9C}" srcOrd="0" destOrd="0" presId="urn:microsoft.com/office/officeart/2008/layout/VerticalCurvedList"/>
    <dgm:cxn modelId="{F99C591C-7F70-004F-A907-A0FF4705D418}" type="presParOf" srcId="{16E788E5-B1E3-F241-8582-AA90F71AF465}" destId="{881F34CF-9AFB-D044-94F0-6E519FC8A228}" srcOrd="7" destOrd="0" presId="urn:microsoft.com/office/officeart/2008/layout/VerticalCurvedList"/>
    <dgm:cxn modelId="{2DF7AD76-6882-064C-A905-55571E4435BE}" type="presParOf" srcId="{16E788E5-B1E3-F241-8582-AA90F71AF465}" destId="{3A0D63D9-BC8C-5B4D-9F71-DE088B544536}" srcOrd="8" destOrd="0" presId="urn:microsoft.com/office/officeart/2008/layout/VerticalCurvedList"/>
    <dgm:cxn modelId="{D64F709C-CE9B-2C4D-B917-D03082B51524}" type="presParOf" srcId="{3A0D63D9-BC8C-5B4D-9F71-DE088B544536}" destId="{2F3E8387-38C3-D549-B9D3-B2B43610CB07}" srcOrd="0" destOrd="0" presId="urn:microsoft.com/office/officeart/2008/layout/VerticalCurvedList"/>
    <dgm:cxn modelId="{22402987-ECC0-E144-B19C-E23928504420}" type="presParOf" srcId="{16E788E5-B1E3-F241-8582-AA90F71AF465}" destId="{3751B8D0-70E9-D741-9C58-528213264916}" srcOrd="9" destOrd="0" presId="urn:microsoft.com/office/officeart/2008/layout/VerticalCurvedList"/>
    <dgm:cxn modelId="{E303C15E-AA5A-D24E-8F55-4953E092F6BE}" type="presParOf" srcId="{16E788E5-B1E3-F241-8582-AA90F71AF465}" destId="{77C7578E-4A65-5F49-93B0-6EE4896CF3F0}" srcOrd="10" destOrd="0" presId="urn:microsoft.com/office/officeart/2008/layout/VerticalCurvedList"/>
    <dgm:cxn modelId="{AAEEEBB7-6A03-B348-B79A-34377903D4A9}" type="presParOf" srcId="{77C7578E-4A65-5F49-93B0-6EE4896CF3F0}" destId="{E18C93D3-3D15-4A43-B367-F8768440F9F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BA2FA3-BEF5-4AB0-A250-81C635C22268}" type="doc">
      <dgm:prSet loTypeId="urn:microsoft.com/office/officeart/2005/8/layout/radial5" loCatId="relationship" qsTypeId="urn:microsoft.com/office/officeart/2005/8/quickstyle/simple2" qsCatId="simple" csTypeId="urn:microsoft.com/office/officeart/2005/8/colors/colorful1" csCatId="colorful" phldr="1"/>
      <dgm:spPr/>
      <dgm:t>
        <a:bodyPr/>
        <a:lstStyle/>
        <a:p>
          <a:endParaRPr lang="en-US"/>
        </a:p>
      </dgm:t>
    </dgm:pt>
    <dgm:pt modelId="{878D0A76-DDEB-4B48-897A-9545C1324A4D}">
      <dgm:prSet phldrT="[Text]" custT="1"/>
      <dgm:spPr>
        <a:xfrm>
          <a:off x="2369256" y="1907391"/>
          <a:ext cx="1366788" cy="1366788"/>
        </a:xfrm>
        <a:solidFill>
          <a:srgbClr val="4F81B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Mobile Penetration Test</a:t>
          </a:r>
        </a:p>
      </dgm:t>
    </dgm:pt>
    <dgm:pt modelId="{CF19F644-FFF5-4A96-9450-AE3147937A10}" type="parTrans" cxnId="{284F4A2E-B9CD-4706-B521-DF7AC66CD9F6}">
      <dgm:prSet/>
      <dgm:spPr/>
      <dgm:t>
        <a:bodyPr/>
        <a:lstStyle/>
        <a:p>
          <a:endParaRPr lang="en-US" sz="1200" b="0">
            <a:solidFill>
              <a:srgbClr val="000000"/>
            </a:solidFill>
            <a:latin typeface="+mj-lt"/>
          </a:endParaRPr>
        </a:p>
      </dgm:t>
    </dgm:pt>
    <dgm:pt modelId="{F3003843-BC95-4DC2-8FD1-677594A88838}" type="sibTrans" cxnId="{284F4A2E-B9CD-4706-B521-DF7AC66CD9F6}">
      <dgm:prSet/>
      <dgm:spPr/>
      <dgm:t>
        <a:bodyPr/>
        <a:lstStyle/>
        <a:p>
          <a:endParaRPr lang="en-US" sz="1200" b="0">
            <a:solidFill>
              <a:srgbClr val="000000"/>
            </a:solidFill>
            <a:latin typeface="+mj-lt"/>
          </a:endParaRPr>
        </a:p>
      </dgm:t>
    </dgm:pt>
    <dgm:pt modelId="{BAD37EF4-6E1F-4D6B-9233-DFDEEB45F82E}">
      <dgm:prSet phldrT="[Text]" custT="1"/>
      <dgm:spPr>
        <a:xfrm>
          <a:off x="2559449" y="20806"/>
          <a:ext cx="986401" cy="986401"/>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mproper Platform Usage </a:t>
          </a:r>
        </a:p>
      </dgm:t>
    </dgm:pt>
    <dgm:pt modelId="{B986C639-E8C8-4BAC-AAAD-93674C9350CC}" type="parTrans" cxnId="{86E07AFF-E2A1-499D-B360-D1206C93F3A2}">
      <dgm:prSet custT="1"/>
      <dgm:spPr>
        <a:xfrm rot="16200000">
          <a:off x="2814101" y="1261374"/>
          <a:ext cx="477097"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315730BC-CA59-4721-A9F0-7AC2CDD79BA5}" type="sibTrans" cxnId="{86E07AFF-E2A1-499D-B360-D1206C93F3A2}">
      <dgm:prSet/>
      <dgm:spPr/>
      <dgm:t>
        <a:bodyPr/>
        <a:lstStyle/>
        <a:p>
          <a:endParaRPr lang="en-US" sz="1200" b="0"/>
        </a:p>
      </dgm:t>
    </dgm:pt>
    <dgm:pt modelId="{80DEF943-A3EB-497A-93EF-9AD7BACBA9C6}">
      <dgm:prSet custT="1"/>
      <dgm:spPr>
        <a:xfrm>
          <a:off x="3780150" y="417436"/>
          <a:ext cx="986401" cy="986401"/>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Data Storage</a:t>
          </a:r>
        </a:p>
      </dgm:t>
    </dgm:pt>
    <dgm:pt modelId="{1A7A7054-7577-4C2E-BDAD-F5D060C54A62}" type="parTrans" cxnId="{AB1D6CE7-4278-4C83-83FD-ACCF2C3C6D0B}">
      <dgm:prSet custT="1"/>
      <dgm:spPr>
        <a:xfrm rot="18360000">
          <a:off x="3472411" y="1475272"/>
          <a:ext cx="477097"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05425F9-3A84-486D-9DAA-B5D941412243}" type="sibTrans" cxnId="{AB1D6CE7-4278-4C83-83FD-ACCF2C3C6D0B}">
      <dgm:prSet/>
      <dgm:spPr/>
      <dgm:t>
        <a:bodyPr/>
        <a:lstStyle/>
        <a:p>
          <a:endParaRPr lang="en-US" sz="1200" b="0"/>
        </a:p>
      </dgm:t>
    </dgm:pt>
    <dgm:pt modelId="{CCE7ECFA-49BE-400C-ACB3-DC0FD0997C03}">
      <dgm:prSet custT="1"/>
      <dgm:spPr>
        <a:xfrm>
          <a:off x="4535013" y="145625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Communication</a:t>
          </a:r>
        </a:p>
      </dgm:t>
    </dgm:pt>
    <dgm:pt modelId="{62105905-2E36-4700-8564-07268D90A657}" type="parTrans" cxnId="{18E26DCC-0F37-4154-989F-9C09B1D7A33C}">
      <dgm:prSet custT="1"/>
      <dgm:spPr>
        <a:xfrm rot="20520000">
          <a:off x="3879353" y="2035200"/>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45175CD6-5C51-4F53-936D-44B21E56BABA}" type="sibTrans" cxnId="{18E26DCC-0F37-4154-989F-9C09B1D7A33C}">
      <dgm:prSet/>
      <dgm:spPr/>
      <dgm:t>
        <a:bodyPr/>
        <a:lstStyle/>
        <a:p>
          <a:endParaRPr lang="en-US" sz="1200" b="0"/>
        </a:p>
      </dgm:t>
    </dgm:pt>
    <dgm:pt modelId="{3DE9218B-0A87-433F-914D-E7796E3A31C0}">
      <dgm:prSet custT="1"/>
      <dgm:spPr>
        <a:xfrm>
          <a:off x="4535013" y="273977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entication</a:t>
          </a:r>
        </a:p>
      </dgm:t>
    </dgm:pt>
    <dgm:pt modelId="{617500E7-845B-4E22-A788-64D727A2D292}" type="parTrans" cxnId="{80756998-0892-4E91-BCEC-822799B8439A}">
      <dgm:prSet custT="1"/>
      <dgm:spPr>
        <a:xfrm rot="1080000">
          <a:off x="3879353" y="2727516"/>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E37374A-79C9-49B1-BB66-A4BB0BDFA6A1}" type="sibTrans" cxnId="{80756998-0892-4E91-BCEC-822799B8439A}">
      <dgm:prSet/>
      <dgm:spPr/>
      <dgm:t>
        <a:bodyPr/>
        <a:lstStyle/>
        <a:p>
          <a:endParaRPr lang="en-US" sz="1200" b="0"/>
        </a:p>
      </dgm:t>
    </dgm:pt>
    <dgm:pt modelId="{C46E9E96-222B-4311-A715-4AC50133B381}">
      <dgm:prSet custT="1"/>
      <dgm:spPr>
        <a:xfrm>
          <a:off x="3780578" y="37781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ufficient Cryptography</a:t>
          </a:r>
        </a:p>
      </dgm:t>
    </dgm:pt>
    <dgm:pt modelId="{FE6D72A1-C46A-46C5-AA3F-5200F8ABA360}" type="parTrans" cxnId="{21C8ED5A-B901-4D87-8FB6-E4F677BDEEDA}">
      <dgm:prSet custT="1"/>
      <dgm:spPr>
        <a:xfrm rot="3240000">
          <a:off x="3472420" y="3287612"/>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9F290A54-6FDF-4460-83DA-85B1119F7BDD}" type="sibTrans" cxnId="{21C8ED5A-B901-4D87-8FB6-E4F677BDEEDA}">
      <dgm:prSet/>
      <dgm:spPr/>
      <dgm:t>
        <a:bodyPr/>
        <a:lstStyle/>
        <a:p>
          <a:endParaRPr lang="en-US" sz="1200" b="0"/>
        </a:p>
      </dgm:t>
    </dgm:pt>
    <dgm:pt modelId="{0D97AA74-17E3-441B-B477-3C5F1D3B38E7}">
      <dgm:prSet custT="1"/>
      <dgm:spPr>
        <a:xfrm>
          <a:off x="2559878" y="4174793"/>
          <a:ext cx="985543" cy="985543"/>
        </a:xfrm>
        <a:solidFill>
          <a:srgbClr val="C0504D">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Insecure Authorization</a:t>
          </a:r>
        </a:p>
      </dgm:t>
    </dgm:pt>
    <dgm:pt modelId="{C69A623C-8E19-418F-98EF-A4A6CF555979}" type="parTrans" cxnId="{CF7428C2-5DD1-4828-B42C-9F716885A280}">
      <dgm:prSet custT="1"/>
      <dgm:spPr>
        <a:xfrm rot="5400000">
          <a:off x="2813988" y="3501550"/>
          <a:ext cx="477324" cy="418856"/>
        </a:xfrm>
        <a:solidFill>
          <a:srgbClr val="C0504D">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C3CFDD51-43A4-4D73-8930-3F6AABF2EF33}" type="sibTrans" cxnId="{CF7428C2-5DD1-4828-B42C-9F716885A280}">
      <dgm:prSet/>
      <dgm:spPr/>
      <dgm:t>
        <a:bodyPr/>
        <a:lstStyle/>
        <a:p>
          <a:endParaRPr lang="en-US" sz="1200" b="0"/>
        </a:p>
      </dgm:t>
    </dgm:pt>
    <dgm:pt modelId="{B19F489A-07E9-4532-8C7F-D2788E7DC0E2}">
      <dgm:prSet custT="1"/>
      <dgm:spPr>
        <a:xfrm>
          <a:off x="1339178" y="3778164"/>
          <a:ext cx="985543" cy="985543"/>
        </a:xfrm>
        <a:solidFill>
          <a:srgbClr val="9BBB59">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Poor Code Quality</a:t>
          </a:r>
        </a:p>
      </dgm:t>
    </dgm:pt>
    <dgm:pt modelId="{D6DB1086-4907-4156-A0C7-0AEF02AD3E93}" type="parTrans" cxnId="{31255E36-B8E3-48A6-A5C0-76CE437AA4D0}">
      <dgm:prSet custT="1"/>
      <dgm:spPr>
        <a:xfrm rot="7560000">
          <a:off x="2155555" y="3287612"/>
          <a:ext cx="477324" cy="418856"/>
        </a:xfrm>
        <a:solidFill>
          <a:srgbClr val="9BBB59">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A9B16BEF-865F-418A-B483-CCB763BCBD72}" type="sibTrans" cxnId="{31255E36-B8E3-48A6-A5C0-76CE437AA4D0}">
      <dgm:prSet/>
      <dgm:spPr/>
      <dgm:t>
        <a:bodyPr/>
        <a:lstStyle/>
        <a:p>
          <a:endParaRPr lang="en-US" sz="1200" b="0"/>
        </a:p>
      </dgm:t>
    </dgm:pt>
    <dgm:pt modelId="{EF4FE579-EFA8-407E-9CE2-D9456A191633}">
      <dgm:prSet custT="1"/>
      <dgm:spPr>
        <a:xfrm>
          <a:off x="584744" y="2739774"/>
          <a:ext cx="985543" cy="985543"/>
        </a:xfrm>
        <a:solidFill>
          <a:srgbClr val="8064A2">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Code Tampering</a:t>
          </a:r>
        </a:p>
      </dgm:t>
    </dgm:pt>
    <dgm:pt modelId="{8D1CFEA6-8F0C-48A1-8E8D-428B69F2190A}" type="parTrans" cxnId="{FC376E34-1DFB-4D85-81A4-7C42916AD2EB}">
      <dgm:prSet custT="1"/>
      <dgm:spPr>
        <a:xfrm rot="9720000">
          <a:off x="1748622" y="2727516"/>
          <a:ext cx="477324" cy="418856"/>
        </a:xfrm>
        <a:solidFill>
          <a:srgbClr val="8064A2">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017F8E56-1055-4905-B5BC-815BDEC6C2E5}" type="sibTrans" cxnId="{FC376E34-1DFB-4D85-81A4-7C42916AD2EB}">
      <dgm:prSet/>
      <dgm:spPr/>
      <dgm:t>
        <a:bodyPr/>
        <a:lstStyle/>
        <a:p>
          <a:endParaRPr lang="en-US" sz="1200" b="0"/>
        </a:p>
      </dgm:t>
    </dgm:pt>
    <dgm:pt modelId="{0C40F2CC-F2FC-4E20-A23E-370911B813F2}">
      <dgm:prSet custT="1"/>
      <dgm:spPr>
        <a:xfrm>
          <a:off x="584744" y="1456254"/>
          <a:ext cx="985543" cy="985543"/>
        </a:xfrm>
        <a:solidFill>
          <a:srgbClr val="4BACC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Reverse Engineering</a:t>
          </a:r>
        </a:p>
      </dgm:t>
    </dgm:pt>
    <dgm:pt modelId="{6B7D4B4A-565E-4CC8-9B69-7BBB77620EED}" type="parTrans" cxnId="{AA045193-583F-4B17-A4E4-2E04D4B35190}">
      <dgm:prSet custT="1"/>
      <dgm:spPr>
        <a:xfrm rot="11880000">
          <a:off x="1748622" y="2035200"/>
          <a:ext cx="477324" cy="418856"/>
        </a:xfrm>
        <a:solidFill>
          <a:srgbClr val="4BACC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6AB4BC9D-0DEF-4648-9E92-C38B2A8FFF1C}" type="sibTrans" cxnId="{AA045193-583F-4B17-A4E4-2E04D4B35190}">
      <dgm:prSet/>
      <dgm:spPr/>
      <dgm:t>
        <a:bodyPr/>
        <a:lstStyle/>
        <a:p>
          <a:endParaRPr lang="en-US" sz="1200" b="0"/>
        </a:p>
      </dgm:t>
    </dgm:pt>
    <dgm:pt modelId="{921628BA-EBC2-48C1-AB39-E4EF4514E6E8}">
      <dgm:prSet custT="1"/>
      <dgm:spPr>
        <a:xfrm>
          <a:off x="1339178" y="417864"/>
          <a:ext cx="985543" cy="985543"/>
        </a:xfrm>
        <a:solidFill>
          <a:srgbClr val="F79646">
            <a:hueOff val="0"/>
            <a:satOff val="0"/>
            <a:lumOff val="0"/>
            <a:alphaOff val="0"/>
          </a:srgbClr>
        </a:solidFill>
        <a:ln w="38100" cap="flat" cmpd="sng" algn="ctr">
          <a:solidFill>
            <a:sysClr val="window" lastClr="FFFFFF">
              <a:hueOff val="0"/>
              <a:satOff val="0"/>
              <a:lumOff val="0"/>
              <a:alphaOff val="0"/>
            </a:sysClr>
          </a:solidFill>
          <a:prstDash val="solid"/>
        </a:ln>
        <a:effectLst>
          <a:outerShdw blurRad="40000" dist="20000" dir="5400000" rotWithShape="0">
            <a:srgbClr val="000000">
              <a:alpha val="38000"/>
            </a:srgbClr>
          </a:outerShdw>
        </a:effectLst>
      </dgm:spPr>
      <dgm:t>
        <a:bodyPr/>
        <a:lstStyle/>
        <a:p>
          <a:pPr>
            <a:buNone/>
          </a:pPr>
          <a:r>
            <a:rPr lang="en-US" sz="1200" b="0">
              <a:solidFill>
                <a:sysClr val="window" lastClr="FFFFFF"/>
              </a:solidFill>
              <a:latin typeface="Calibri"/>
              <a:ea typeface="+mn-ea"/>
              <a:cs typeface="Arial"/>
            </a:rPr>
            <a:t>Extraneous Functionality</a:t>
          </a:r>
        </a:p>
      </dgm:t>
    </dgm:pt>
    <dgm:pt modelId="{ED2DE7B6-7BA5-4C94-917D-6356695A8C27}" type="parTrans" cxnId="{D444D74B-EAF8-4AE3-9F44-5285A7AE2DF1}">
      <dgm:prSet custT="1"/>
      <dgm:spPr>
        <a:xfrm rot="14040000">
          <a:off x="2155555" y="1475104"/>
          <a:ext cx="477324" cy="418856"/>
        </a:xfrm>
        <a:solidFill>
          <a:srgbClr val="F79646">
            <a:hueOff val="0"/>
            <a:satOff val="0"/>
            <a:lumOff val="0"/>
            <a:alphaOff val="0"/>
          </a:srgbClr>
        </a:solidFill>
        <a:ln>
          <a:noFill/>
        </a:ln>
        <a:effectLst>
          <a:outerShdw blurRad="40000" dist="20000" dir="5400000" rotWithShape="0">
            <a:srgbClr val="000000">
              <a:alpha val="38000"/>
            </a:srgbClr>
          </a:outerShdw>
        </a:effectLst>
      </dgm:spPr>
      <dgm:t>
        <a:bodyPr/>
        <a:lstStyle/>
        <a:p>
          <a:pPr>
            <a:buNone/>
          </a:pPr>
          <a:endParaRPr lang="en-US" sz="1200" b="0">
            <a:solidFill>
              <a:sysClr val="window" lastClr="FFFFFF"/>
            </a:solidFill>
            <a:latin typeface="Calibri"/>
            <a:ea typeface="+mn-ea"/>
            <a:cs typeface="+mn-cs"/>
          </a:endParaRPr>
        </a:p>
      </dgm:t>
    </dgm:pt>
    <dgm:pt modelId="{8DB0E6D9-BF0B-4ABC-A4C1-0F57F7BF5DC2}" type="sibTrans" cxnId="{D444D74B-EAF8-4AE3-9F44-5285A7AE2DF1}">
      <dgm:prSet/>
      <dgm:spPr/>
      <dgm:t>
        <a:bodyPr/>
        <a:lstStyle/>
        <a:p>
          <a:endParaRPr lang="en-US" sz="1200" b="0"/>
        </a:p>
      </dgm:t>
    </dgm:pt>
    <dgm:pt modelId="{1C00081A-9F87-4454-A12C-E2BCC783A3A2}" type="pres">
      <dgm:prSet presAssocID="{86BA2FA3-BEF5-4AB0-A250-81C635C22268}" presName="Name0" presStyleCnt="0">
        <dgm:presLayoutVars>
          <dgm:chMax val="1"/>
          <dgm:dir/>
          <dgm:animLvl val="ctr"/>
          <dgm:resizeHandles val="exact"/>
        </dgm:presLayoutVars>
      </dgm:prSet>
      <dgm:spPr/>
    </dgm:pt>
    <dgm:pt modelId="{3C46B780-C3A8-4A52-9FD8-B19692CC38C3}" type="pres">
      <dgm:prSet presAssocID="{878D0A76-DDEB-4B48-897A-9545C1324A4D}" presName="centerShape" presStyleLbl="node0" presStyleIdx="0" presStyleCnt="1"/>
      <dgm:spPr/>
    </dgm:pt>
    <dgm:pt modelId="{8F9DE843-E1BF-477E-B093-53D980A470CB}" type="pres">
      <dgm:prSet presAssocID="{B986C639-E8C8-4BAC-AAAD-93674C9350CC}" presName="parTrans" presStyleLbl="sibTrans2D1" presStyleIdx="0" presStyleCnt="10"/>
      <dgm:spPr/>
    </dgm:pt>
    <dgm:pt modelId="{BACAE125-DFB0-4EE6-8AFC-5A3E0D0187FA}" type="pres">
      <dgm:prSet presAssocID="{B986C639-E8C8-4BAC-AAAD-93674C9350CC}" presName="connectorText" presStyleLbl="sibTrans2D1" presStyleIdx="0" presStyleCnt="10"/>
      <dgm:spPr/>
    </dgm:pt>
    <dgm:pt modelId="{857BF3F9-FB6F-4045-96C7-A6AF2A511919}" type="pres">
      <dgm:prSet presAssocID="{BAD37EF4-6E1F-4D6B-9233-DFDEEB45F82E}" presName="node" presStyleLbl="node1" presStyleIdx="0" presStyleCnt="10">
        <dgm:presLayoutVars>
          <dgm:bulletEnabled val="1"/>
        </dgm:presLayoutVars>
      </dgm:prSet>
      <dgm:spPr/>
    </dgm:pt>
    <dgm:pt modelId="{2D877664-01F4-47E2-8FD6-3C6D4F959212}" type="pres">
      <dgm:prSet presAssocID="{1A7A7054-7577-4C2E-BDAD-F5D060C54A62}" presName="parTrans" presStyleLbl="sibTrans2D1" presStyleIdx="1" presStyleCnt="10"/>
      <dgm:spPr/>
    </dgm:pt>
    <dgm:pt modelId="{C4B34F0D-364D-4379-B81D-2834947E68CD}" type="pres">
      <dgm:prSet presAssocID="{1A7A7054-7577-4C2E-BDAD-F5D060C54A62}" presName="connectorText" presStyleLbl="sibTrans2D1" presStyleIdx="1" presStyleCnt="10"/>
      <dgm:spPr/>
    </dgm:pt>
    <dgm:pt modelId="{7D811323-4AB8-4554-B984-8857CC9F496F}" type="pres">
      <dgm:prSet presAssocID="{80DEF943-A3EB-497A-93EF-9AD7BACBA9C6}" presName="node" presStyleLbl="node1" presStyleIdx="1" presStyleCnt="10">
        <dgm:presLayoutVars>
          <dgm:bulletEnabled val="1"/>
        </dgm:presLayoutVars>
      </dgm:prSet>
      <dgm:spPr/>
    </dgm:pt>
    <dgm:pt modelId="{085F7B28-D790-47E6-B264-3E70188BF55A}" type="pres">
      <dgm:prSet presAssocID="{62105905-2E36-4700-8564-07268D90A657}" presName="parTrans" presStyleLbl="sibTrans2D1" presStyleIdx="2" presStyleCnt="10"/>
      <dgm:spPr/>
    </dgm:pt>
    <dgm:pt modelId="{0F1A0CD8-6DBE-4261-9664-2DA38ABC730C}" type="pres">
      <dgm:prSet presAssocID="{62105905-2E36-4700-8564-07268D90A657}" presName="connectorText" presStyleLbl="sibTrans2D1" presStyleIdx="2" presStyleCnt="10"/>
      <dgm:spPr/>
    </dgm:pt>
    <dgm:pt modelId="{21703973-86A1-4836-B0BF-0BA124B429C5}" type="pres">
      <dgm:prSet presAssocID="{CCE7ECFA-49BE-400C-ACB3-DC0FD0997C03}" presName="node" presStyleLbl="node1" presStyleIdx="2" presStyleCnt="10">
        <dgm:presLayoutVars>
          <dgm:bulletEnabled val="1"/>
        </dgm:presLayoutVars>
      </dgm:prSet>
      <dgm:spPr/>
    </dgm:pt>
    <dgm:pt modelId="{61EAF171-EE8C-47FD-99F3-36DD495FA75C}" type="pres">
      <dgm:prSet presAssocID="{617500E7-845B-4E22-A788-64D727A2D292}" presName="parTrans" presStyleLbl="sibTrans2D1" presStyleIdx="3" presStyleCnt="10"/>
      <dgm:spPr/>
    </dgm:pt>
    <dgm:pt modelId="{93053516-9AE3-4B10-A18F-D5A5067B91F5}" type="pres">
      <dgm:prSet presAssocID="{617500E7-845B-4E22-A788-64D727A2D292}" presName="connectorText" presStyleLbl="sibTrans2D1" presStyleIdx="3" presStyleCnt="10"/>
      <dgm:spPr/>
    </dgm:pt>
    <dgm:pt modelId="{298A2EF8-427D-42B1-99AE-91B2F41C8A24}" type="pres">
      <dgm:prSet presAssocID="{3DE9218B-0A87-433F-914D-E7796E3A31C0}" presName="node" presStyleLbl="node1" presStyleIdx="3" presStyleCnt="10">
        <dgm:presLayoutVars>
          <dgm:bulletEnabled val="1"/>
        </dgm:presLayoutVars>
      </dgm:prSet>
      <dgm:spPr/>
    </dgm:pt>
    <dgm:pt modelId="{E0E8CA51-B39C-4608-9267-AB366E0B32E6}" type="pres">
      <dgm:prSet presAssocID="{FE6D72A1-C46A-46C5-AA3F-5200F8ABA360}" presName="parTrans" presStyleLbl="sibTrans2D1" presStyleIdx="4" presStyleCnt="10"/>
      <dgm:spPr/>
    </dgm:pt>
    <dgm:pt modelId="{FDFC97EC-7781-44F7-9ECD-19A3966E136E}" type="pres">
      <dgm:prSet presAssocID="{FE6D72A1-C46A-46C5-AA3F-5200F8ABA360}" presName="connectorText" presStyleLbl="sibTrans2D1" presStyleIdx="4" presStyleCnt="10"/>
      <dgm:spPr/>
    </dgm:pt>
    <dgm:pt modelId="{61624398-D423-44E0-A84F-95CC570CA524}" type="pres">
      <dgm:prSet presAssocID="{C46E9E96-222B-4311-A715-4AC50133B381}" presName="node" presStyleLbl="node1" presStyleIdx="4" presStyleCnt="10">
        <dgm:presLayoutVars>
          <dgm:bulletEnabled val="1"/>
        </dgm:presLayoutVars>
      </dgm:prSet>
      <dgm:spPr/>
    </dgm:pt>
    <dgm:pt modelId="{187925BA-783A-4B59-BF16-01CD46D4575C}" type="pres">
      <dgm:prSet presAssocID="{C69A623C-8E19-418F-98EF-A4A6CF555979}" presName="parTrans" presStyleLbl="sibTrans2D1" presStyleIdx="5" presStyleCnt="10"/>
      <dgm:spPr/>
    </dgm:pt>
    <dgm:pt modelId="{4943FC36-6D2D-47A2-A101-C0BFBB8FC876}" type="pres">
      <dgm:prSet presAssocID="{C69A623C-8E19-418F-98EF-A4A6CF555979}" presName="connectorText" presStyleLbl="sibTrans2D1" presStyleIdx="5" presStyleCnt="10"/>
      <dgm:spPr/>
    </dgm:pt>
    <dgm:pt modelId="{DD4FAA5A-BF7C-415D-BB67-E88045B68D5B}" type="pres">
      <dgm:prSet presAssocID="{0D97AA74-17E3-441B-B477-3C5F1D3B38E7}" presName="node" presStyleLbl="node1" presStyleIdx="5" presStyleCnt="10">
        <dgm:presLayoutVars>
          <dgm:bulletEnabled val="1"/>
        </dgm:presLayoutVars>
      </dgm:prSet>
      <dgm:spPr/>
    </dgm:pt>
    <dgm:pt modelId="{53055EC5-C081-4136-867F-D146942D4538}" type="pres">
      <dgm:prSet presAssocID="{D6DB1086-4907-4156-A0C7-0AEF02AD3E93}" presName="parTrans" presStyleLbl="sibTrans2D1" presStyleIdx="6" presStyleCnt="10"/>
      <dgm:spPr/>
    </dgm:pt>
    <dgm:pt modelId="{41B3329E-3DA4-40E1-807F-34E3C6ADE3C5}" type="pres">
      <dgm:prSet presAssocID="{D6DB1086-4907-4156-A0C7-0AEF02AD3E93}" presName="connectorText" presStyleLbl="sibTrans2D1" presStyleIdx="6" presStyleCnt="10"/>
      <dgm:spPr/>
    </dgm:pt>
    <dgm:pt modelId="{EBEE4CC0-26E9-4463-850B-D08CBB7EE58F}" type="pres">
      <dgm:prSet presAssocID="{B19F489A-07E9-4532-8C7F-D2788E7DC0E2}" presName="node" presStyleLbl="node1" presStyleIdx="6" presStyleCnt="10">
        <dgm:presLayoutVars>
          <dgm:bulletEnabled val="1"/>
        </dgm:presLayoutVars>
      </dgm:prSet>
      <dgm:spPr/>
    </dgm:pt>
    <dgm:pt modelId="{A37BE2D8-42DC-4EA4-8F7B-F46F99196271}" type="pres">
      <dgm:prSet presAssocID="{8D1CFEA6-8F0C-48A1-8E8D-428B69F2190A}" presName="parTrans" presStyleLbl="sibTrans2D1" presStyleIdx="7" presStyleCnt="10"/>
      <dgm:spPr/>
    </dgm:pt>
    <dgm:pt modelId="{722BB976-44DA-4F1A-8E5C-B3D9E1F236B4}" type="pres">
      <dgm:prSet presAssocID="{8D1CFEA6-8F0C-48A1-8E8D-428B69F2190A}" presName="connectorText" presStyleLbl="sibTrans2D1" presStyleIdx="7" presStyleCnt="10"/>
      <dgm:spPr/>
    </dgm:pt>
    <dgm:pt modelId="{9B8C7F34-F250-4BE7-BA57-A0027446C2A1}" type="pres">
      <dgm:prSet presAssocID="{EF4FE579-EFA8-407E-9CE2-D9456A191633}" presName="node" presStyleLbl="node1" presStyleIdx="7" presStyleCnt="10">
        <dgm:presLayoutVars>
          <dgm:bulletEnabled val="1"/>
        </dgm:presLayoutVars>
      </dgm:prSet>
      <dgm:spPr/>
    </dgm:pt>
    <dgm:pt modelId="{5051BB0A-9A7F-405D-9B60-F324F9194952}" type="pres">
      <dgm:prSet presAssocID="{6B7D4B4A-565E-4CC8-9B69-7BBB77620EED}" presName="parTrans" presStyleLbl="sibTrans2D1" presStyleIdx="8" presStyleCnt="10"/>
      <dgm:spPr/>
    </dgm:pt>
    <dgm:pt modelId="{E1391279-9B34-4E47-8D36-DF44675AA8E4}" type="pres">
      <dgm:prSet presAssocID="{6B7D4B4A-565E-4CC8-9B69-7BBB77620EED}" presName="connectorText" presStyleLbl="sibTrans2D1" presStyleIdx="8" presStyleCnt="10"/>
      <dgm:spPr/>
    </dgm:pt>
    <dgm:pt modelId="{26F42865-193D-4442-9AA2-9D4C932688A6}" type="pres">
      <dgm:prSet presAssocID="{0C40F2CC-F2FC-4E20-A23E-370911B813F2}" presName="node" presStyleLbl="node1" presStyleIdx="8" presStyleCnt="10">
        <dgm:presLayoutVars>
          <dgm:bulletEnabled val="1"/>
        </dgm:presLayoutVars>
      </dgm:prSet>
      <dgm:spPr/>
    </dgm:pt>
    <dgm:pt modelId="{C63AEBF3-94FC-42FF-8028-4E05F4C86BF7}" type="pres">
      <dgm:prSet presAssocID="{ED2DE7B6-7BA5-4C94-917D-6356695A8C27}" presName="parTrans" presStyleLbl="sibTrans2D1" presStyleIdx="9" presStyleCnt="10"/>
      <dgm:spPr/>
    </dgm:pt>
    <dgm:pt modelId="{B203A3B1-8DF0-4F92-B133-D36F7B1EEDAE}" type="pres">
      <dgm:prSet presAssocID="{ED2DE7B6-7BA5-4C94-917D-6356695A8C27}" presName="connectorText" presStyleLbl="sibTrans2D1" presStyleIdx="9" presStyleCnt="10"/>
      <dgm:spPr/>
    </dgm:pt>
    <dgm:pt modelId="{F0A0C56A-5ADA-48C2-B97A-DC1FCDD8D797}" type="pres">
      <dgm:prSet presAssocID="{921628BA-EBC2-48C1-AB39-E4EF4514E6E8}" presName="node" presStyleLbl="node1" presStyleIdx="9" presStyleCnt="10">
        <dgm:presLayoutVars>
          <dgm:bulletEnabled val="1"/>
        </dgm:presLayoutVars>
      </dgm:prSet>
      <dgm:spPr/>
    </dgm:pt>
  </dgm:ptLst>
  <dgm:cxnLst>
    <dgm:cxn modelId="{D63DEF01-58D5-4340-B36B-BC7F8DBEFC27}" type="presOf" srcId="{C46E9E96-222B-4311-A715-4AC50133B381}" destId="{61624398-D423-44E0-A84F-95CC570CA524}" srcOrd="0" destOrd="0" presId="urn:microsoft.com/office/officeart/2005/8/layout/radial5"/>
    <dgm:cxn modelId="{BC973E0A-294B-4D7E-A8F7-3B9640FC5B7E}" type="presOf" srcId="{617500E7-845B-4E22-A788-64D727A2D292}" destId="{93053516-9AE3-4B10-A18F-D5A5067B91F5}" srcOrd="1" destOrd="0" presId="urn:microsoft.com/office/officeart/2005/8/layout/radial5"/>
    <dgm:cxn modelId="{8045620A-DB29-4FBD-B2C8-D6241AC2ACAC}" type="presOf" srcId="{B986C639-E8C8-4BAC-AAAD-93674C9350CC}" destId="{BACAE125-DFB0-4EE6-8AFC-5A3E0D0187FA}" srcOrd="1" destOrd="0" presId="urn:microsoft.com/office/officeart/2005/8/layout/radial5"/>
    <dgm:cxn modelId="{1704D00B-E078-47EA-8674-4442567B8C0E}" type="presOf" srcId="{921628BA-EBC2-48C1-AB39-E4EF4514E6E8}" destId="{F0A0C56A-5ADA-48C2-B97A-DC1FCDD8D797}" srcOrd="0" destOrd="0" presId="urn:microsoft.com/office/officeart/2005/8/layout/radial5"/>
    <dgm:cxn modelId="{973D111E-DA33-4DF0-A8EF-B672A4124F3B}" type="presOf" srcId="{0D97AA74-17E3-441B-B477-3C5F1D3B38E7}" destId="{DD4FAA5A-BF7C-415D-BB67-E88045B68D5B}" srcOrd="0" destOrd="0" presId="urn:microsoft.com/office/officeart/2005/8/layout/radial5"/>
    <dgm:cxn modelId="{284F4A2E-B9CD-4706-B521-DF7AC66CD9F6}" srcId="{86BA2FA3-BEF5-4AB0-A250-81C635C22268}" destId="{878D0A76-DDEB-4B48-897A-9545C1324A4D}" srcOrd="0" destOrd="0" parTransId="{CF19F644-FFF5-4A96-9450-AE3147937A10}" sibTransId="{F3003843-BC95-4DC2-8FD1-677594A88838}"/>
    <dgm:cxn modelId="{AAFEC32E-026E-4E34-BC0D-C9A1612AC5E7}" type="presOf" srcId="{FE6D72A1-C46A-46C5-AA3F-5200F8ABA360}" destId="{FDFC97EC-7781-44F7-9ECD-19A3966E136E}" srcOrd="1" destOrd="0" presId="urn:microsoft.com/office/officeart/2005/8/layout/radial5"/>
    <dgm:cxn modelId="{FC376E34-1DFB-4D85-81A4-7C42916AD2EB}" srcId="{878D0A76-DDEB-4B48-897A-9545C1324A4D}" destId="{EF4FE579-EFA8-407E-9CE2-D9456A191633}" srcOrd="7" destOrd="0" parTransId="{8D1CFEA6-8F0C-48A1-8E8D-428B69F2190A}" sibTransId="{017F8E56-1055-4905-B5BC-815BDEC6C2E5}"/>
    <dgm:cxn modelId="{EAF27535-2416-4CC3-B06E-CE23A22B3C11}" type="presOf" srcId="{3DE9218B-0A87-433F-914D-E7796E3A31C0}" destId="{298A2EF8-427D-42B1-99AE-91B2F41C8A24}" srcOrd="0" destOrd="0" presId="urn:microsoft.com/office/officeart/2005/8/layout/radial5"/>
    <dgm:cxn modelId="{31255E36-B8E3-48A6-A5C0-76CE437AA4D0}" srcId="{878D0A76-DDEB-4B48-897A-9545C1324A4D}" destId="{B19F489A-07E9-4532-8C7F-D2788E7DC0E2}" srcOrd="6" destOrd="0" parTransId="{D6DB1086-4907-4156-A0C7-0AEF02AD3E93}" sibTransId="{A9B16BEF-865F-418A-B483-CCB763BCBD72}"/>
    <dgm:cxn modelId="{A76CEA3B-CC02-4E7D-A4DA-7A93F77F72E6}" type="presOf" srcId="{FE6D72A1-C46A-46C5-AA3F-5200F8ABA360}" destId="{E0E8CA51-B39C-4608-9267-AB366E0B32E6}" srcOrd="0" destOrd="0" presId="urn:microsoft.com/office/officeart/2005/8/layout/radial5"/>
    <dgm:cxn modelId="{49858762-DE1C-47A7-844F-5DBFC5342719}" type="presOf" srcId="{878D0A76-DDEB-4B48-897A-9545C1324A4D}" destId="{3C46B780-C3A8-4A52-9FD8-B19692CC38C3}" srcOrd="0" destOrd="0" presId="urn:microsoft.com/office/officeart/2005/8/layout/radial5"/>
    <dgm:cxn modelId="{FEDC9144-0D81-4F19-B33A-23A7860F6467}" type="presOf" srcId="{BAD37EF4-6E1F-4D6B-9233-DFDEEB45F82E}" destId="{857BF3F9-FB6F-4045-96C7-A6AF2A511919}" srcOrd="0" destOrd="0" presId="urn:microsoft.com/office/officeart/2005/8/layout/radial5"/>
    <dgm:cxn modelId="{88B70B65-1F6B-47A5-B8A6-629E4245E713}" type="presOf" srcId="{B986C639-E8C8-4BAC-AAAD-93674C9350CC}" destId="{8F9DE843-E1BF-477E-B093-53D980A470CB}" srcOrd="0" destOrd="0" presId="urn:microsoft.com/office/officeart/2005/8/layout/radial5"/>
    <dgm:cxn modelId="{6C929668-CA73-4514-A72D-4CF99D19BDE2}" type="presOf" srcId="{6B7D4B4A-565E-4CC8-9B69-7BBB77620EED}" destId="{5051BB0A-9A7F-405D-9B60-F324F9194952}" srcOrd="0" destOrd="0" presId="urn:microsoft.com/office/officeart/2005/8/layout/radial5"/>
    <dgm:cxn modelId="{D444D74B-EAF8-4AE3-9F44-5285A7AE2DF1}" srcId="{878D0A76-DDEB-4B48-897A-9545C1324A4D}" destId="{921628BA-EBC2-48C1-AB39-E4EF4514E6E8}" srcOrd="9" destOrd="0" parTransId="{ED2DE7B6-7BA5-4C94-917D-6356695A8C27}" sibTransId="{8DB0E6D9-BF0B-4ABC-A4C1-0F57F7BF5DC2}"/>
    <dgm:cxn modelId="{A327576D-BFC5-4442-AC43-D83159C6C8D1}" type="presOf" srcId="{62105905-2E36-4700-8564-07268D90A657}" destId="{085F7B28-D790-47E6-B264-3E70188BF55A}" srcOrd="0" destOrd="0" presId="urn:microsoft.com/office/officeart/2005/8/layout/radial5"/>
    <dgm:cxn modelId="{D53ACB52-F06B-4D68-9F08-4C0FA8F6E209}" type="presOf" srcId="{80DEF943-A3EB-497A-93EF-9AD7BACBA9C6}" destId="{7D811323-4AB8-4554-B984-8857CC9F496F}" srcOrd="0" destOrd="0" presId="urn:microsoft.com/office/officeart/2005/8/layout/radial5"/>
    <dgm:cxn modelId="{8586D455-2D19-481B-8F60-230DB398B9EA}" type="presOf" srcId="{ED2DE7B6-7BA5-4C94-917D-6356695A8C27}" destId="{C63AEBF3-94FC-42FF-8028-4E05F4C86BF7}" srcOrd="0" destOrd="0" presId="urn:microsoft.com/office/officeart/2005/8/layout/radial5"/>
    <dgm:cxn modelId="{90061A78-9C50-4C51-B91A-638C361EFBA1}" type="presOf" srcId="{62105905-2E36-4700-8564-07268D90A657}" destId="{0F1A0CD8-6DBE-4261-9664-2DA38ABC730C}" srcOrd="1" destOrd="0" presId="urn:microsoft.com/office/officeart/2005/8/layout/radial5"/>
    <dgm:cxn modelId="{21C8ED5A-B901-4D87-8FB6-E4F677BDEEDA}" srcId="{878D0A76-DDEB-4B48-897A-9545C1324A4D}" destId="{C46E9E96-222B-4311-A715-4AC50133B381}" srcOrd="4" destOrd="0" parTransId="{FE6D72A1-C46A-46C5-AA3F-5200F8ABA360}" sibTransId="{9F290A54-6FDF-4460-83DA-85B1119F7BDD}"/>
    <dgm:cxn modelId="{97A07D83-A6C3-4757-A6B1-EA85CA57E79F}" type="presOf" srcId="{617500E7-845B-4E22-A788-64D727A2D292}" destId="{61EAF171-EE8C-47FD-99F3-36DD495FA75C}" srcOrd="0" destOrd="0" presId="urn:microsoft.com/office/officeart/2005/8/layout/radial5"/>
    <dgm:cxn modelId="{56600488-8F39-427A-AFCE-A179354B20F5}" type="presOf" srcId="{6B7D4B4A-565E-4CC8-9B69-7BBB77620EED}" destId="{E1391279-9B34-4E47-8D36-DF44675AA8E4}" srcOrd="1" destOrd="0" presId="urn:microsoft.com/office/officeart/2005/8/layout/radial5"/>
    <dgm:cxn modelId="{AA045193-583F-4B17-A4E4-2E04D4B35190}" srcId="{878D0A76-DDEB-4B48-897A-9545C1324A4D}" destId="{0C40F2CC-F2FC-4E20-A23E-370911B813F2}" srcOrd="8" destOrd="0" parTransId="{6B7D4B4A-565E-4CC8-9B69-7BBB77620EED}" sibTransId="{6AB4BC9D-0DEF-4648-9E92-C38B2A8FFF1C}"/>
    <dgm:cxn modelId="{69476994-D9F3-4EA6-B9ED-D0E87C57D8E1}" type="presOf" srcId="{ED2DE7B6-7BA5-4C94-917D-6356695A8C27}" destId="{B203A3B1-8DF0-4F92-B133-D36F7B1EEDAE}" srcOrd="1" destOrd="0" presId="urn:microsoft.com/office/officeart/2005/8/layout/radial5"/>
    <dgm:cxn modelId="{80756998-0892-4E91-BCEC-822799B8439A}" srcId="{878D0A76-DDEB-4B48-897A-9545C1324A4D}" destId="{3DE9218B-0A87-433F-914D-E7796E3A31C0}" srcOrd="3" destOrd="0" parTransId="{617500E7-845B-4E22-A788-64D727A2D292}" sibTransId="{8E37374A-79C9-49B1-BB66-A4BB0BDFA6A1}"/>
    <dgm:cxn modelId="{DF7C7D99-829A-46F6-8DBB-642E44E8A8AD}" type="presOf" srcId="{D6DB1086-4907-4156-A0C7-0AEF02AD3E93}" destId="{41B3329E-3DA4-40E1-807F-34E3C6ADE3C5}" srcOrd="1" destOrd="0" presId="urn:microsoft.com/office/officeart/2005/8/layout/radial5"/>
    <dgm:cxn modelId="{94B7809E-F214-44BF-9E48-B584ECB07165}" type="presOf" srcId="{CCE7ECFA-49BE-400C-ACB3-DC0FD0997C03}" destId="{21703973-86A1-4836-B0BF-0BA124B429C5}" srcOrd="0" destOrd="0" presId="urn:microsoft.com/office/officeart/2005/8/layout/radial5"/>
    <dgm:cxn modelId="{92553DB6-3755-4A29-BD6E-6817C61BEFEE}" type="presOf" srcId="{EF4FE579-EFA8-407E-9CE2-D9456A191633}" destId="{9B8C7F34-F250-4BE7-BA57-A0027446C2A1}" srcOrd="0" destOrd="0" presId="urn:microsoft.com/office/officeart/2005/8/layout/radial5"/>
    <dgm:cxn modelId="{724025B8-7FE0-4EA4-8F50-2BB22578E322}" type="presOf" srcId="{1A7A7054-7577-4C2E-BDAD-F5D060C54A62}" destId="{C4B34F0D-364D-4379-B81D-2834947E68CD}" srcOrd="1" destOrd="0" presId="urn:microsoft.com/office/officeart/2005/8/layout/radial5"/>
    <dgm:cxn modelId="{250408C2-BB39-455E-9A8D-2E53EECBB4E7}" type="presOf" srcId="{D6DB1086-4907-4156-A0C7-0AEF02AD3E93}" destId="{53055EC5-C081-4136-867F-D146942D4538}" srcOrd="0" destOrd="0" presId="urn:microsoft.com/office/officeart/2005/8/layout/radial5"/>
    <dgm:cxn modelId="{CF7428C2-5DD1-4828-B42C-9F716885A280}" srcId="{878D0A76-DDEB-4B48-897A-9545C1324A4D}" destId="{0D97AA74-17E3-441B-B477-3C5F1D3B38E7}" srcOrd="5" destOrd="0" parTransId="{C69A623C-8E19-418F-98EF-A4A6CF555979}" sibTransId="{C3CFDD51-43A4-4D73-8930-3F6AABF2EF33}"/>
    <dgm:cxn modelId="{DA4DC7C3-4B53-4BE0-A80C-C8C909B66E4A}" type="presOf" srcId="{8D1CFEA6-8F0C-48A1-8E8D-428B69F2190A}" destId="{A37BE2D8-42DC-4EA4-8F7B-F46F99196271}" srcOrd="0" destOrd="0" presId="urn:microsoft.com/office/officeart/2005/8/layout/radial5"/>
    <dgm:cxn modelId="{18E26DCC-0F37-4154-989F-9C09B1D7A33C}" srcId="{878D0A76-DDEB-4B48-897A-9545C1324A4D}" destId="{CCE7ECFA-49BE-400C-ACB3-DC0FD0997C03}" srcOrd="2" destOrd="0" parTransId="{62105905-2E36-4700-8564-07268D90A657}" sibTransId="{45175CD6-5C51-4F53-936D-44B21E56BABA}"/>
    <dgm:cxn modelId="{5BB5CAD4-5B1F-4A27-9491-5B812E36D7BE}" type="presOf" srcId="{C69A623C-8E19-418F-98EF-A4A6CF555979}" destId="{187925BA-783A-4B59-BF16-01CD46D4575C}" srcOrd="0" destOrd="0" presId="urn:microsoft.com/office/officeart/2005/8/layout/radial5"/>
    <dgm:cxn modelId="{F0A115E3-E4D4-4204-A941-A018498D7CBA}" type="presOf" srcId="{1A7A7054-7577-4C2E-BDAD-F5D060C54A62}" destId="{2D877664-01F4-47E2-8FD6-3C6D4F959212}" srcOrd="0" destOrd="0" presId="urn:microsoft.com/office/officeart/2005/8/layout/radial5"/>
    <dgm:cxn modelId="{3AE8A8E6-4AC4-462F-9CAD-08EC86D4794F}" type="presOf" srcId="{86BA2FA3-BEF5-4AB0-A250-81C635C22268}" destId="{1C00081A-9F87-4454-A12C-E2BCC783A3A2}" srcOrd="0" destOrd="0" presId="urn:microsoft.com/office/officeart/2005/8/layout/radial5"/>
    <dgm:cxn modelId="{AB1D6CE7-4278-4C83-83FD-ACCF2C3C6D0B}" srcId="{878D0A76-DDEB-4B48-897A-9545C1324A4D}" destId="{80DEF943-A3EB-497A-93EF-9AD7BACBA9C6}" srcOrd="1" destOrd="0" parTransId="{1A7A7054-7577-4C2E-BDAD-F5D060C54A62}" sibTransId="{905425F9-3A84-486D-9DAA-B5D941412243}"/>
    <dgm:cxn modelId="{5EABF8F4-B4F1-4B9D-A68D-322D57397379}" type="presOf" srcId="{C69A623C-8E19-418F-98EF-A4A6CF555979}" destId="{4943FC36-6D2D-47A2-A101-C0BFBB8FC876}" srcOrd="1" destOrd="0" presId="urn:microsoft.com/office/officeart/2005/8/layout/radial5"/>
    <dgm:cxn modelId="{1F1F1DF5-D61E-4254-8A6E-7004C9B04CB5}" type="presOf" srcId="{B19F489A-07E9-4532-8C7F-D2788E7DC0E2}" destId="{EBEE4CC0-26E9-4463-850B-D08CBB7EE58F}" srcOrd="0" destOrd="0" presId="urn:microsoft.com/office/officeart/2005/8/layout/radial5"/>
    <dgm:cxn modelId="{308570F6-BB97-40A8-AD19-F3FEAF516414}" type="presOf" srcId="{8D1CFEA6-8F0C-48A1-8E8D-428B69F2190A}" destId="{722BB976-44DA-4F1A-8E5C-B3D9E1F236B4}" srcOrd="1" destOrd="0" presId="urn:microsoft.com/office/officeart/2005/8/layout/radial5"/>
    <dgm:cxn modelId="{56993AFA-1550-48FA-82E8-31DA362A676C}" type="presOf" srcId="{0C40F2CC-F2FC-4E20-A23E-370911B813F2}" destId="{26F42865-193D-4442-9AA2-9D4C932688A6}" srcOrd="0" destOrd="0" presId="urn:microsoft.com/office/officeart/2005/8/layout/radial5"/>
    <dgm:cxn modelId="{86E07AFF-E2A1-499D-B360-D1206C93F3A2}" srcId="{878D0A76-DDEB-4B48-897A-9545C1324A4D}" destId="{BAD37EF4-6E1F-4D6B-9233-DFDEEB45F82E}" srcOrd="0" destOrd="0" parTransId="{B986C639-E8C8-4BAC-AAAD-93674C9350CC}" sibTransId="{315730BC-CA59-4721-A9F0-7AC2CDD79BA5}"/>
    <dgm:cxn modelId="{DFBF9096-9B9E-46AE-BBE6-E529BC61807D}" type="presParOf" srcId="{1C00081A-9F87-4454-A12C-E2BCC783A3A2}" destId="{3C46B780-C3A8-4A52-9FD8-B19692CC38C3}" srcOrd="0" destOrd="0" presId="urn:microsoft.com/office/officeart/2005/8/layout/radial5"/>
    <dgm:cxn modelId="{E398E5D4-DFEC-46BD-9585-8CBDF32CAB35}" type="presParOf" srcId="{1C00081A-9F87-4454-A12C-E2BCC783A3A2}" destId="{8F9DE843-E1BF-477E-B093-53D980A470CB}" srcOrd="1" destOrd="0" presId="urn:microsoft.com/office/officeart/2005/8/layout/radial5"/>
    <dgm:cxn modelId="{6F78A17B-91E9-4344-A26F-EFE249BAE450}" type="presParOf" srcId="{8F9DE843-E1BF-477E-B093-53D980A470CB}" destId="{BACAE125-DFB0-4EE6-8AFC-5A3E0D0187FA}" srcOrd="0" destOrd="0" presId="urn:microsoft.com/office/officeart/2005/8/layout/radial5"/>
    <dgm:cxn modelId="{1E4F6CF6-4570-4185-919A-EAA572D86B77}" type="presParOf" srcId="{1C00081A-9F87-4454-A12C-E2BCC783A3A2}" destId="{857BF3F9-FB6F-4045-96C7-A6AF2A511919}" srcOrd="2" destOrd="0" presId="urn:microsoft.com/office/officeart/2005/8/layout/radial5"/>
    <dgm:cxn modelId="{871EF702-59A4-4AB7-A7D0-7B329FE5570E}" type="presParOf" srcId="{1C00081A-9F87-4454-A12C-E2BCC783A3A2}" destId="{2D877664-01F4-47E2-8FD6-3C6D4F959212}" srcOrd="3" destOrd="0" presId="urn:microsoft.com/office/officeart/2005/8/layout/radial5"/>
    <dgm:cxn modelId="{1B64D922-BF9F-4E7C-BF78-0D3B5DF0E991}" type="presParOf" srcId="{2D877664-01F4-47E2-8FD6-3C6D4F959212}" destId="{C4B34F0D-364D-4379-B81D-2834947E68CD}" srcOrd="0" destOrd="0" presId="urn:microsoft.com/office/officeart/2005/8/layout/radial5"/>
    <dgm:cxn modelId="{4166E0A2-40CE-4DBE-9CA1-E0879A216F0F}" type="presParOf" srcId="{1C00081A-9F87-4454-A12C-E2BCC783A3A2}" destId="{7D811323-4AB8-4554-B984-8857CC9F496F}" srcOrd="4" destOrd="0" presId="urn:microsoft.com/office/officeart/2005/8/layout/radial5"/>
    <dgm:cxn modelId="{2BB75E1B-4130-4336-A169-9F3F908FC750}" type="presParOf" srcId="{1C00081A-9F87-4454-A12C-E2BCC783A3A2}" destId="{085F7B28-D790-47E6-B264-3E70188BF55A}" srcOrd="5" destOrd="0" presId="urn:microsoft.com/office/officeart/2005/8/layout/radial5"/>
    <dgm:cxn modelId="{560B7599-FC47-4794-9423-1BCAE32CDBA5}" type="presParOf" srcId="{085F7B28-D790-47E6-B264-3E70188BF55A}" destId="{0F1A0CD8-6DBE-4261-9664-2DA38ABC730C}" srcOrd="0" destOrd="0" presId="urn:microsoft.com/office/officeart/2005/8/layout/radial5"/>
    <dgm:cxn modelId="{50A4C533-B417-4139-B359-4DE9244C8307}" type="presParOf" srcId="{1C00081A-9F87-4454-A12C-E2BCC783A3A2}" destId="{21703973-86A1-4836-B0BF-0BA124B429C5}" srcOrd="6" destOrd="0" presId="urn:microsoft.com/office/officeart/2005/8/layout/radial5"/>
    <dgm:cxn modelId="{A1E859BD-C7CF-4DC5-B670-8194A63C7FDB}" type="presParOf" srcId="{1C00081A-9F87-4454-A12C-E2BCC783A3A2}" destId="{61EAF171-EE8C-47FD-99F3-36DD495FA75C}" srcOrd="7" destOrd="0" presId="urn:microsoft.com/office/officeart/2005/8/layout/radial5"/>
    <dgm:cxn modelId="{3B51DF6D-2EA2-4570-B334-501C4422BC37}" type="presParOf" srcId="{61EAF171-EE8C-47FD-99F3-36DD495FA75C}" destId="{93053516-9AE3-4B10-A18F-D5A5067B91F5}" srcOrd="0" destOrd="0" presId="urn:microsoft.com/office/officeart/2005/8/layout/radial5"/>
    <dgm:cxn modelId="{9B1FE803-D033-4E65-A64F-04D5993BE7C8}" type="presParOf" srcId="{1C00081A-9F87-4454-A12C-E2BCC783A3A2}" destId="{298A2EF8-427D-42B1-99AE-91B2F41C8A24}" srcOrd="8" destOrd="0" presId="urn:microsoft.com/office/officeart/2005/8/layout/radial5"/>
    <dgm:cxn modelId="{7F58B9CC-76CF-4FC7-9D47-42D57EC7B017}" type="presParOf" srcId="{1C00081A-9F87-4454-A12C-E2BCC783A3A2}" destId="{E0E8CA51-B39C-4608-9267-AB366E0B32E6}" srcOrd="9" destOrd="0" presId="urn:microsoft.com/office/officeart/2005/8/layout/radial5"/>
    <dgm:cxn modelId="{52F99CDF-253D-4C10-9D8B-C35495FF6DED}" type="presParOf" srcId="{E0E8CA51-B39C-4608-9267-AB366E0B32E6}" destId="{FDFC97EC-7781-44F7-9ECD-19A3966E136E}" srcOrd="0" destOrd="0" presId="urn:microsoft.com/office/officeart/2005/8/layout/radial5"/>
    <dgm:cxn modelId="{B8C40360-A103-4C40-BF29-AC4B126BE414}" type="presParOf" srcId="{1C00081A-9F87-4454-A12C-E2BCC783A3A2}" destId="{61624398-D423-44E0-A84F-95CC570CA524}" srcOrd="10" destOrd="0" presId="urn:microsoft.com/office/officeart/2005/8/layout/radial5"/>
    <dgm:cxn modelId="{2F506009-1B77-4B68-9CE1-BF1B8B73AB93}" type="presParOf" srcId="{1C00081A-9F87-4454-A12C-E2BCC783A3A2}" destId="{187925BA-783A-4B59-BF16-01CD46D4575C}" srcOrd="11" destOrd="0" presId="urn:microsoft.com/office/officeart/2005/8/layout/radial5"/>
    <dgm:cxn modelId="{FBCDCF2C-0A3A-4CD6-B695-B343C1820694}" type="presParOf" srcId="{187925BA-783A-4B59-BF16-01CD46D4575C}" destId="{4943FC36-6D2D-47A2-A101-C0BFBB8FC876}" srcOrd="0" destOrd="0" presId="urn:microsoft.com/office/officeart/2005/8/layout/radial5"/>
    <dgm:cxn modelId="{DF50DDCC-0C11-44CA-9DAA-0943FEFA53B7}" type="presParOf" srcId="{1C00081A-9F87-4454-A12C-E2BCC783A3A2}" destId="{DD4FAA5A-BF7C-415D-BB67-E88045B68D5B}" srcOrd="12" destOrd="0" presId="urn:microsoft.com/office/officeart/2005/8/layout/radial5"/>
    <dgm:cxn modelId="{58F5FFF4-9BBA-4B80-8487-A8F6896C87C6}" type="presParOf" srcId="{1C00081A-9F87-4454-A12C-E2BCC783A3A2}" destId="{53055EC5-C081-4136-867F-D146942D4538}" srcOrd="13" destOrd="0" presId="urn:microsoft.com/office/officeart/2005/8/layout/radial5"/>
    <dgm:cxn modelId="{A3F53842-22AC-40D9-8FAE-7C34767C05FC}" type="presParOf" srcId="{53055EC5-C081-4136-867F-D146942D4538}" destId="{41B3329E-3DA4-40E1-807F-34E3C6ADE3C5}" srcOrd="0" destOrd="0" presId="urn:microsoft.com/office/officeart/2005/8/layout/radial5"/>
    <dgm:cxn modelId="{E92D14EC-10A8-43CC-8322-9EF46B9383EF}" type="presParOf" srcId="{1C00081A-9F87-4454-A12C-E2BCC783A3A2}" destId="{EBEE4CC0-26E9-4463-850B-D08CBB7EE58F}" srcOrd="14" destOrd="0" presId="urn:microsoft.com/office/officeart/2005/8/layout/radial5"/>
    <dgm:cxn modelId="{AAAD83F0-576D-4AA5-91B1-29F956DD747B}" type="presParOf" srcId="{1C00081A-9F87-4454-A12C-E2BCC783A3A2}" destId="{A37BE2D8-42DC-4EA4-8F7B-F46F99196271}" srcOrd="15" destOrd="0" presId="urn:microsoft.com/office/officeart/2005/8/layout/radial5"/>
    <dgm:cxn modelId="{19F76202-DE44-4F2D-8164-20BC83070CFB}" type="presParOf" srcId="{A37BE2D8-42DC-4EA4-8F7B-F46F99196271}" destId="{722BB976-44DA-4F1A-8E5C-B3D9E1F236B4}" srcOrd="0" destOrd="0" presId="urn:microsoft.com/office/officeart/2005/8/layout/radial5"/>
    <dgm:cxn modelId="{1A5BFC63-24F0-4BE9-ACB5-578E4FFD2BD3}" type="presParOf" srcId="{1C00081A-9F87-4454-A12C-E2BCC783A3A2}" destId="{9B8C7F34-F250-4BE7-BA57-A0027446C2A1}" srcOrd="16" destOrd="0" presId="urn:microsoft.com/office/officeart/2005/8/layout/radial5"/>
    <dgm:cxn modelId="{4443D3CA-839D-4526-B876-0B439C85837B}" type="presParOf" srcId="{1C00081A-9F87-4454-A12C-E2BCC783A3A2}" destId="{5051BB0A-9A7F-405D-9B60-F324F9194952}" srcOrd="17" destOrd="0" presId="urn:microsoft.com/office/officeart/2005/8/layout/radial5"/>
    <dgm:cxn modelId="{CFF7DD9C-4AE8-4DF6-8310-0841E91A1910}" type="presParOf" srcId="{5051BB0A-9A7F-405D-9B60-F324F9194952}" destId="{E1391279-9B34-4E47-8D36-DF44675AA8E4}" srcOrd="0" destOrd="0" presId="urn:microsoft.com/office/officeart/2005/8/layout/radial5"/>
    <dgm:cxn modelId="{57871297-D644-4694-91AF-CAD60F0104BA}" type="presParOf" srcId="{1C00081A-9F87-4454-A12C-E2BCC783A3A2}" destId="{26F42865-193D-4442-9AA2-9D4C932688A6}" srcOrd="18" destOrd="0" presId="urn:microsoft.com/office/officeart/2005/8/layout/radial5"/>
    <dgm:cxn modelId="{3FDA07C5-F4FA-4F8E-82CF-B38309E3630E}" type="presParOf" srcId="{1C00081A-9F87-4454-A12C-E2BCC783A3A2}" destId="{C63AEBF3-94FC-42FF-8028-4E05F4C86BF7}" srcOrd="19" destOrd="0" presId="urn:microsoft.com/office/officeart/2005/8/layout/radial5"/>
    <dgm:cxn modelId="{6F2678C7-A8B6-43FD-8F66-3F04A21E0659}" type="presParOf" srcId="{C63AEBF3-94FC-42FF-8028-4E05F4C86BF7}" destId="{B203A3B1-8DF0-4F92-B133-D36F7B1EEDAE}" srcOrd="0" destOrd="0" presId="urn:microsoft.com/office/officeart/2005/8/layout/radial5"/>
    <dgm:cxn modelId="{6A19CDC4-3438-49C1-AE28-D1A86F02556D}" type="presParOf" srcId="{1C00081A-9F87-4454-A12C-E2BCC783A3A2}" destId="{F0A0C56A-5ADA-48C2-B97A-DC1FCDD8D797}" srcOrd="20" destOrd="0" presId="urn:microsoft.com/office/officeart/2005/8/layout/radial5"/>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492134-8402-4705-B6BC-EB85EB30792B}">
      <dsp:nvSpPr>
        <dsp:cNvPr id="0" name=""/>
        <dsp:cNvSpPr/>
      </dsp:nvSpPr>
      <dsp:spPr>
        <a:xfrm>
          <a:off x="2" y="673919"/>
          <a:ext cx="10830569" cy="2417933"/>
        </a:xfrm>
        <a:prstGeom prst="rightArrow">
          <a:avLst/>
        </a:prstGeom>
        <a:gradFill rotWithShape="0">
          <a:gsLst>
            <a:gs pos="0">
              <a:schemeClr val="bg1">
                <a:lumMod val="75000"/>
                <a:alpha val="44000"/>
              </a:schemeClr>
            </a:gs>
            <a:gs pos="100000">
              <a:schemeClr val="tx1">
                <a:lumMod val="95000"/>
                <a:lumOff val="5000"/>
                <a:alpha val="91000"/>
              </a:schemeClr>
            </a:gs>
          </a:gsLst>
          <a:lin ang="7200000" scaled="0"/>
        </a:gradFill>
        <a:ln>
          <a:noFill/>
        </a:ln>
        <a:effectLst/>
      </dsp:spPr>
      <dsp:style>
        <a:lnRef idx="0">
          <a:scrgbClr r="0" g="0" b="0"/>
        </a:lnRef>
        <a:fillRef idx="1">
          <a:scrgbClr r="0" g="0" b="0"/>
        </a:fillRef>
        <a:effectRef idx="0">
          <a:scrgbClr r="0" g="0" b="0"/>
        </a:effectRef>
        <a:fontRef idx="minor"/>
      </dsp:style>
    </dsp:sp>
    <dsp:sp modelId="{3BF1FD39-9211-4C4F-A7B7-889CE46B8984}">
      <dsp:nvSpPr>
        <dsp:cNvPr id="0" name=""/>
        <dsp:cNvSpPr/>
      </dsp:nvSpPr>
      <dsp:spPr>
        <a:xfrm>
          <a:off x="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Information gathering</a:t>
          </a:r>
        </a:p>
      </dsp:txBody>
      <dsp:txXfrm>
        <a:off x="26782" y="1613738"/>
        <a:ext cx="1017905" cy="495078"/>
      </dsp:txXfrm>
    </dsp:sp>
    <dsp:sp modelId="{77729CFD-C3EB-4EB7-9510-073582B5B318}">
      <dsp:nvSpPr>
        <dsp:cNvPr id="0" name=""/>
        <dsp:cNvSpPr/>
      </dsp:nvSpPr>
      <dsp:spPr>
        <a:xfrm>
          <a:off x="121731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etwork mapping</a:t>
          </a:r>
        </a:p>
      </dsp:txBody>
      <dsp:txXfrm>
        <a:off x="1244094" y="1613738"/>
        <a:ext cx="1017905" cy="495078"/>
      </dsp:txXfrm>
    </dsp:sp>
    <dsp:sp modelId="{8F9B7931-7FB7-45BA-9716-E2EEB82DACE6}">
      <dsp:nvSpPr>
        <dsp:cNvPr id="0" name=""/>
        <dsp:cNvSpPr/>
      </dsp:nvSpPr>
      <dsp:spPr>
        <a:xfrm>
          <a:off x="2437115"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Vulnerability Identification</a:t>
          </a:r>
        </a:p>
      </dsp:txBody>
      <dsp:txXfrm>
        <a:off x="2463897" y="1613738"/>
        <a:ext cx="1017905" cy="495078"/>
      </dsp:txXfrm>
    </dsp:sp>
    <dsp:sp modelId="{F58768C0-06C7-4386-940F-B2B1EA4E24A3}">
      <dsp:nvSpPr>
        <dsp:cNvPr id="0" name=""/>
        <dsp:cNvSpPr/>
      </dsp:nvSpPr>
      <dsp:spPr>
        <a:xfrm>
          <a:off x="3656918"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Penetration</a:t>
          </a:r>
        </a:p>
      </dsp:txBody>
      <dsp:txXfrm>
        <a:off x="3683700" y="1613738"/>
        <a:ext cx="1017905" cy="495078"/>
      </dsp:txXfrm>
    </dsp:sp>
    <dsp:sp modelId="{D0CCFECF-3A29-4D93-8054-535CFB304A5D}">
      <dsp:nvSpPr>
        <dsp:cNvPr id="0" name=""/>
        <dsp:cNvSpPr/>
      </dsp:nvSpPr>
      <dsp:spPr>
        <a:xfrm>
          <a:off x="4876720"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Gaining access and privilege escalation</a:t>
          </a:r>
        </a:p>
      </dsp:txBody>
      <dsp:txXfrm>
        <a:off x="4903502" y="1613738"/>
        <a:ext cx="1017905" cy="495078"/>
      </dsp:txXfrm>
    </dsp:sp>
    <dsp:sp modelId="{D13F8B5B-AE9C-4CDD-B84A-733633AC3BFF}">
      <dsp:nvSpPr>
        <dsp:cNvPr id="0" name=""/>
        <dsp:cNvSpPr/>
      </dsp:nvSpPr>
      <dsp:spPr>
        <a:xfrm>
          <a:off x="6096523"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Enumerating further</a:t>
          </a:r>
        </a:p>
      </dsp:txBody>
      <dsp:txXfrm>
        <a:off x="6123305" y="1613738"/>
        <a:ext cx="1017905" cy="495078"/>
      </dsp:txXfrm>
    </dsp:sp>
    <dsp:sp modelId="{636D82E1-2BBD-4956-ADF8-45A0D9AAE966}">
      <dsp:nvSpPr>
        <dsp:cNvPr id="0" name=""/>
        <dsp:cNvSpPr/>
      </dsp:nvSpPr>
      <dsp:spPr>
        <a:xfrm>
          <a:off x="7316326"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mpromising remote users/sites</a:t>
          </a:r>
        </a:p>
      </dsp:txBody>
      <dsp:txXfrm>
        <a:off x="7343108" y="1613738"/>
        <a:ext cx="1017905" cy="495078"/>
      </dsp:txXfrm>
    </dsp:sp>
    <dsp:sp modelId="{C83036AF-C184-49FD-B8AF-5201FC3C4D4F}">
      <dsp:nvSpPr>
        <dsp:cNvPr id="0" name=""/>
        <dsp:cNvSpPr/>
      </dsp:nvSpPr>
      <dsp:spPr>
        <a:xfrm>
          <a:off x="8536129"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Maintaining access</a:t>
          </a:r>
        </a:p>
      </dsp:txBody>
      <dsp:txXfrm>
        <a:off x="8562911" y="1613738"/>
        <a:ext cx="1017905" cy="495078"/>
      </dsp:txXfrm>
    </dsp:sp>
    <dsp:sp modelId="{38B8BDE1-C20B-4097-9BF2-163923CB56AF}">
      <dsp:nvSpPr>
        <dsp:cNvPr id="0" name=""/>
        <dsp:cNvSpPr/>
      </dsp:nvSpPr>
      <dsp:spPr>
        <a:xfrm>
          <a:off x="9755932" y="1586956"/>
          <a:ext cx="1071469" cy="548642"/>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overing the track</a:t>
          </a:r>
        </a:p>
      </dsp:txBody>
      <dsp:txXfrm>
        <a:off x="9782714" y="1613738"/>
        <a:ext cx="1017905" cy="49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1B184-55D1-4313-A9B7-B11EFA040AB1}">
      <dsp:nvSpPr>
        <dsp:cNvPr id="0" name=""/>
        <dsp:cNvSpPr/>
      </dsp:nvSpPr>
      <dsp:spPr>
        <a:xfrm>
          <a:off x="4554" y="277939"/>
          <a:ext cx="1361182" cy="816709"/>
        </a:xfrm>
        <a:prstGeom prst="flowChartProcess">
          <a:avLst/>
        </a:prstGeom>
        <a:solidFill>
          <a:srgbClr val="001D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re-engagement Interactions</a:t>
          </a:r>
        </a:p>
      </dsp:txBody>
      <dsp:txXfrm>
        <a:off x="4554" y="277939"/>
        <a:ext cx="1361182" cy="816709"/>
      </dsp:txXfrm>
    </dsp:sp>
    <dsp:sp modelId="{EAC454C6-9F0B-4284-9E9E-FCF97BBE220B}">
      <dsp:nvSpPr>
        <dsp:cNvPr id="0" name=""/>
        <dsp:cNvSpPr/>
      </dsp:nvSpPr>
      <dsp:spPr>
        <a:xfrm>
          <a:off x="1485520" y="517507"/>
          <a:ext cx="288570" cy="337573"/>
        </a:xfrm>
        <a:prstGeom prst="rightArrow">
          <a:avLst>
            <a:gd name="adj1" fmla="val 60000"/>
            <a:gd name="adj2" fmla="val 50000"/>
          </a:avLst>
        </a:prstGeom>
        <a:solidFill>
          <a:srgbClr val="001D6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1485520" y="585022"/>
        <a:ext cx="201999" cy="202543"/>
      </dsp:txXfrm>
    </dsp:sp>
    <dsp:sp modelId="{5902F681-8E43-4C19-97FD-C748C5BB32F1}">
      <dsp:nvSpPr>
        <dsp:cNvPr id="0" name=""/>
        <dsp:cNvSpPr/>
      </dsp:nvSpPr>
      <dsp:spPr>
        <a:xfrm>
          <a:off x="1910209" y="277939"/>
          <a:ext cx="1361182" cy="816709"/>
        </a:xfrm>
        <a:prstGeom prst="flowChartProcess">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Intelligence Gathering</a:t>
          </a:r>
        </a:p>
      </dsp:txBody>
      <dsp:txXfrm>
        <a:off x="1910209" y="277939"/>
        <a:ext cx="1361182" cy="816709"/>
      </dsp:txXfrm>
    </dsp:sp>
    <dsp:sp modelId="{6DFE7597-AB4B-4D5C-9803-0267CE063464}">
      <dsp:nvSpPr>
        <dsp:cNvPr id="0" name=""/>
        <dsp:cNvSpPr/>
      </dsp:nvSpPr>
      <dsp:spPr>
        <a:xfrm>
          <a:off x="3391175" y="517507"/>
          <a:ext cx="288570" cy="337573"/>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391175" y="585022"/>
        <a:ext cx="201999" cy="202543"/>
      </dsp:txXfrm>
    </dsp:sp>
    <dsp:sp modelId="{8BDBFB12-35C2-431A-A1E6-7128E7FCC869}">
      <dsp:nvSpPr>
        <dsp:cNvPr id="0" name=""/>
        <dsp:cNvSpPr/>
      </dsp:nvSpPr>
      <dsp:spPr>
        <a:xfrm>
          <a:off x="3815864" y="277939"/>
          <a:ext cx="1361182" cy="816709"/>
        </a:xfrm>
        <a:prstGeom prst="flowChartProcess">
          <a:avLst/>
        </a:prstGeom>
        <a:solidFill>
          <a:srgbClr val="C55A1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Threat Modeling</a:t>
          </a:r>
        </a:p>
      </dsp:txBody>
      <dsp:txXfrm>
        <a:off x="3815864" y="277939"/>
        <a:ext cx="1361182" cy="816709"/>
      </dsp:txXfrm>
    </dsp:sp>
    <dsp:sp modelId="{D7D8557D-B6CE-4500-9D29-D3562DD86B5E}">
      <dsp:nvSpPr>
        <dsp:cNvPr id="0" name=""/>
        <dsp:cNvSpPr/>
      </dsp:nvSpPr>
      <dsp:spPr>
        <a:xfrm rot="5400000">
          <a:off x="4352170" y="1189931"/>
          <a:ext cx="288570" cy="337573"/>
        </a:xfrm>
        <a:prstGeom prst="rightArrow">
          <a:avLst>
            <a:gd name="adj1" fmla="val 60000"/>
            <a:gd name="adj2" fmla="val 50000"/>
          </a:avLst>
        </a:prstGeom>
        <a:solidFill>
          <a:srgbClr val="C55A1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395184" y="1214433"/>
        <a:ext cx="202543" cy="201999"/>
      </dsp:txXfrm>
    </dsp:sp>
    <dsp:sp modelId="{70512178-5514-43C7-B22A-029E13BB831F}">
      <dsp:nvSpPr>
        <dsp:cNvPr id="0" name=""/>
        <dsp:cNvSpPr/>
      </dsp:nvSpPr>
      <dsp:spPr>
        <a:xfrm>
          <a:off x="3815864" y="1639121"/>
          <a:ext cx="1361182" cy="816709"/>
        </a:xfrm>
        <a:prstGeom prst="flowChartProcess">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Vulnerability Analysis</a:t>
          </a:r>
        </a:p>
      </dsp:txBody>
      <dsp:txXfrm>
        <a:off x="3815864" y="1639121"/>
        <a:ext cx="1361182" cy="816709"/>
      </dsp:txXfrm>
    </dsp:sp>
    <dsp:sp modelId="{4B71AFD2-9778-47D5-982A-B12D9D76A0E8}">
      <dsp:nvSpPr>
        <dsp:cNvPr id="0" name=""/>
        <dsp:cNvSpPr/>
      </dsp:nvSpPr>
      <dsp:spPr>
        <a:xfrm rot="10800000">
          <a:off x="3407509" y="1878689"/>
          <a:ext cx="288570" cy="337573"/>
        </a:xfrm>
        <a:prstGeom prst="rightArrow">
          <a:avLst>
            <a:gd name="adj1" fmla="val 60000"/>
            <a:gd name="adj2" fmla="val 50000"/>
          </a:avLst>
        </a:prstGeom>
        <a:solidFill>
          <a:srgbClr val="ED7D3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494080" y="1946204"/>
        <a:ext cx="201999" cy="202543"/>
      </dsp:txXfrm>
    </dsp:sp>
    <dsp:sp modelId="{35B489AA-AD12-4474-B2BA-B514A5060D7D}">
      <dsp:nvSpPr>
        <dsp:cNvPr id="0" name=""/>
        <dsp:cNvSpPr/>
      </dsp:nvSpPr>
      <dsp:spPr>
        <a:xfrm>
          <a:off x="1910209" y="1639121"/>
          <a:ext cx="1361182" cy="816709"/>
        </a:xfrm>
        <a:prstGeom prst="flowChartProcess">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Exploitation</a:t>
          </a:r>
        </a:p>
      </dsp:txBody>
      <dsp:txXfrm>
        <a:off x="1910209" y="1639121"/>
        <a:ext cx="1361182" cy="816709"/>
      </dsp:txXfrm>
    </dsp:sp>
    <dsp:sp modelId="{C657CADF-184D-46D8-81B7-A53028B278D6}">
      <dsp:nvSpPr>
        <dsp:cNvPr id="0" name=""/>
        <dsp:cNvSpPr/>
      </dsp:nvSpPr>
      <dsp:spPr>
        <a:xfrm rot="10800000">
          <a:off x="1501854" y="1878689"/>
          <a:ext cx="288570" cy="337573"/>
        </a:xfrm>
        <a:prstGeom prst="rightArrow">
          <a:avLst>
            <a:gd name="adj1" fmla="val 60000"/>
            <a:gd name="adj2" fmla="val 50000"/>
          </a:avLst>
        </a:prstGeom>
        <a:solidFill>
          <a:srgbClr val="4472C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1588425" y="1946204"/>
        <a:ext cx="201999" cy="202543"/>
      </dsp:txXfrm>
    </dsp:sp>
    <dsp:sp modelId="{4FA410D2-4C24-4E6E-B42D-9A2CD4E6128D}">
      <dsp:nvSpPr>
        <dsp:cNvPr id="0" name=""/>
        <dsp:cNvSpPr/>
      </dsp:nvSpPr>
      <dsp:spPr>
        <a:xfrm>
          <a:off x="4554" y="1639121"/>
          <a:ext cx="1361182" cy="816709"/>
        </a:xfrm>
        <a:prstGeom prst="flowChartProcess">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Post-Exploitation</a:t>
          </a:r>
        </a:p>
      </dsp:txBody>
      <dsp:txXfrm>
        <a:off x="4554" y="1639121"/>
        <a:ext cx="1361182" cy="816709"/>
      </dsp:txXfrm>
    </dsp:sp>
    <dsp:sp modelId="{A58DAD09-7CBC-4CCB-A64B-8C2A35E60F7C}">
      <dsp:nvSpPr>
        <dsp:cNvPr id="0" name=""/>
        <dsp:cNvSpPr/>
      </dsp:nvSpPr>
      <dsp:spPr>
        <a:xfrm rot="5400000">
          <a:off x="540859" y="2551113"/>
          <a:ext cx="288570" cy="337573"/>
        </a:xfrm>
        <a:prstGeom prst="righ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583873" y="2575615"/>
        <a:ext cx="202543" cy="201999"/>
      </dsp:txXfrm>
    </dsp:sp>
    <dsp:sp modelId="{98289DD9-05EE-4866-8F8D-07D6B807EB08}">
      <dsp:nvSpPr>
        <dsp:cNvPr id="0" name=""/>
        <dsp:cNvSpPr/>
      </dsp:nvSpPr>
      <dsp:spPr>
        <a:xfrm>
          <a:off x="4554" y="3000304"/>
          <a:ext cx="1361182" cy="816709"/>
        </a:xfrm>
        <a:prstGeom prst="flowChartProcess">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Calibri"/>
              <a:ea typeface="+mn-ea"/>
              <a:cs typeface="+mn-cs"/>
            </a:rPr>
            <a:t>Reporting</a:t>
          </a:r>
        </a:p>
      </dsp:txBody>
      <dsp:txXfrm>
        <a:off x="4554" y="3000304"/>
        <a:ext cx="1361182" cy="8167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8B5F1-4181-484D-97DF-A1059982319E}">
      <dsp:nvSpPr>
        <dsp:cNvPr id="0" name=""/>
        <dsp:cNvSpPr/>
      </dsp:nvSpPr>
      <dsp:spPr>
        <a:xfrm>
          <a:off x="-5320601" y="-814819"/>
          <a:ext cx="6335567" cy="6335567"/>
        </a:xfrm>
        <a:prstGeom prst="blockArc">
          <a:avLst>
            <a:gd name="adj1" fmla="val 18900000"/>
            <a:gd name="adj2" fmla="val 2700000"/>
            <a:gd name="adj3" fmla="val 341"/>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E06AE1-767E-624A-AB4E-5A10DDCB0E62}">
      <dsp:nvSpPr>
        <dsp:cNvPr id="0" name=""/>
        <dsp:cNvSpPr/>
      </dsp:nvSpPr>
      <dsp:spPr>
        <a:xfrm>
          <a:off x="443856" y="294026"/>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1. Injection</a:t>
          </a:r>
          <a:endParaRPr lang="en-US" sz="9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Injection flaws, such as SQL, NoSQL, OS, and LDAP injection, occur when untrusted data is sent to an interpreter as part of a command or query. The attacker’s hostile data can trick the interpreter into executing unintended commands or accessing data without proper authorization. </a:t>
          </a:r>
        </a:p>
      </dsp:txBody>
      <dsp:txXfrm>
        <a:off x="443856" y="294026"/>
        <a:ext cx="9305353" cy="588429"/>
      </dsp:txXfrm>
    </dsp:sp>
    <dsp:sp modelId="{E3AE2878-6229-0441-B393-15734D716D43}">
      <dsp:nvSpPr>
        <dsp:cNvPr id="0" name=""/>
        <dsp:cNvSpPr/>
      </dsp:nvSpPr>
      <dsp:spPr>
        <a:xfrm>
          <a:off x="76087" y="220472"/>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CE72702-5823-CE45-A333-7FF2F8CC4DDD}">
      <dsp:nvSpPr>
        <dsp:cNvPr id="0" name=""/>
        <dsp:cNvSpPr/>
      </dsp:nvSpPr>
      <dsp:spPr>
        <a:xfrm>
          <a:off x="865507" y="1133918"/>
          <a:ext cx="8883702" cy="673368"/>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None/>
          </a:pPr>
          <a:r>
            <a:rPr lang="en-US" sz="1100" b="1" kern="1200"/>
            <a:t>2. Broken Authentication &amp; Session Management</a:t>
          </a:r>
          <a:endParaRPr lang="en-US" sz="1000" b="1" kern="1200"/>
        </a:p>
        <a:p>
          <a:pPr marL="134938" lvl="1" indent="-125413" algn="just" defTabSz="488950">
            <a:lnSpc>
              <a:spcPct val="90000"/>
            </a:lnSpc>
            <a:spcBef>
              <a:spcPct val="0"/>
            </a:spcBef>
            <a:spcAft>
              <a:spcPct val="15000"/>
            </a:spcAft>
            <a:buClr>
              <a:schemeClr val="accent6"/>
            </a:buClr>
            <a:buSzPts val="900"/>
            <a:buFont typeface="Arial"/>
            <a:buChar char="►"/>
            <a:tabLst/>
          </a:pPr>
          <a:r>
            <a:rPr lang="en-US" sz="1100" kern="1200"/>
            <a:t>Application functions related to authentication and session management are often implemented incorrectly, allowing attackers to compromise passwords, keys, or session tokens, or to exploit other implementation flaws to assume other users’ identities temporarily or permanently. </a:t>
          </a:r>
        </a:p>
      </dsp:txBody>
      <dsp:txXfrm>
        <a:off x="865507" y="1133918"/>
        <a:ext cx="8883702" cy="673368"/>
      </dsp:txXfrm>
    </dsp:sp>
    <dsp:sp modelId="{DC0C40A8-0757-1544-95F4-ABF1324A052D}">
      <dsp:nvSpPr>
        <dsp:cNvPr id="0" name=""/>
        <dsp:cNvSpPr/>
      </dsp:nvSpPr>
      <dsp:spPr>
        <a:xfrm>
          <a:off x="497739" y="1102834"/>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C810055-A76C-A849-AB76-B9984EF56E99}">
      <dsp:nvSpPr>
        <dsp:cNvPr id="0" name=""/>
        <dsp:cNvSpPr/>
      </dsp:nvSpPr>
      <dsp:spPr>
        <a:xfrm>
          <a:off x="994920" y="2013546"/>
          <a:ext cx="8754289" cy="678835"/>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3. Sensitive Data Exposur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web applications and APIs do not properly protect sensitive data, such as financial, healthcare, and PII. Attackers may steal or modify such weakly protected data to conduct credit card fraud, identity theft, and other crimes. Sensitive data may be compromised without extra protection, such as encryption at rest or in transit, and requires special precautions when exchanged with the browser. </a:t>
          </a:r>
          <a:endParaRPr lang="en-US" sz="1050" kern="1200"/>
        </a:p>
      </dsp:txBody>
      <dsp:txXfrm>
        <a:off x="994920" y="2013546"/>
        <a:ext cx="8754289" cy="678835"/>
      </dsp:txXfrm>
    </dsp:sp>
    <dsp:sp modelId="{EDE5AA83-E79B-6249-94F0-2EEF61C4AE9C}">
      <dsp:nvSpPr>
        <dsp:cNvPr id="0" name=""/>
        <dsp:cNvSpPr/>
      </dsp:nvSpPr>
      <dsp:spPr>
        <a:xfrm>
          <a:off x="627152" y="1985195"/>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881F34CF-9AFB-D044-94F0-6E519FC8A228}">
      <dsp:nvSpPr>
        <dsp:cNvPr id="0" name=""/>
        <dsp:cNvSpPr/>
      </dsp:nvSpPr>
      <dsp:spPr>
        <a:xfrm>
          <a:off x="865507" y="2877898"/>
          <a:ext cx="8883702" cy="714853"/>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4. XML External Entities (XXE)</a:t>
          </a:r>
          <a:endParaRPr lang="en-US" sz="1000" b="1" kern="1200"/>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Many older or poorly configured XML processors evaluate external entity references within XML documents. External entities can be used to disclose internal files using the file URI handler, internal file shares, internal port scanning, remote code execution, and denial of service attacks. </a:t>
          </a:r>
        </a:p>
      </dsp:txBody>
      <dsp:txXfrm>
        <a:off x="865507" y="2877898"/>
        <a:ext cx="8883702" cy="714853"/>
      </dsp:txXfrm>
    </dsp:sp>
    <dsp:sp modelId="{2F3E8387-38C3-D549-B9D3-B2B43610CB07}">
      <dsp:nvSpPr>
        <dsp:cNvPr id="0" name=""/>
        <dsp:cNvSpPr/>
      </dsp:nvSpPr>
      <dsp:spPr>
        <a:xfrm>
          <a:off x="497739" y="2867557"/>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3751B8D0-70E9-D741-9C58-528213264916}">
      <dsp:nvSpPr>
        <dsp:cNvPr id="0" name=""/>
        <dsp:cNvSpPr/>
      </dsp:nvSpPr>
      <dsp:spPr>
        <a:xfrm>
          <a:off x="443856" y="3823472"/>
          <a:ext cx="9305353" cy="588429"/>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67066" tIns="27940" rIns="27940" bIns="27940" numCol="1" spcCol="1270" anchor="t" anchorCtr="0">
          <a:noAutofit/>
        </a:bodyPr>
        <a:lstStyle/>
        <a:p>
          <a:pPr marL="0" lvl="0" indent="0" algn="l" defTabSz="488950">
            <a:lnSpc>
              <a:spcPct val="90000"/>
            </a:lnSpc>
            <a:spcBef>
              <a:spcPct val="0"/>
            </a:spcBef>
            <a:spcAft>
              <a:spcPct val="35000"/>
            </a:spcAft>
            <a:buClr>
              <a:srgbClr val="404040"/>
            </a:buClr>
            <a:buSzPct val="100000"/>
            <a:buNone/>
          </a:pPr>
          <a:r>
            <a:rPr lang="en-US" sz="1100" b="1" kern="1200"/>
            <a:t>5. Broken Access Control</a:t>
          </a:r>
        </a:p>
        <a:p>
          <a:pPr marL="57150" lvl="1" indent="-57150" algn="just" defTabSz="488950">
            <a:lnSpc>
              <a:spcPct val="90000"/>
            </a:lnSpc>
            <a:spcBef>
              <a:spcPct val="0"/>
            </a:spcBef>
            <a:spcAft>
              <a:spcPct val="15000"/>
            </a:spcAft>
            <a:buClr>
              <a:schemeClr val="accent6"/>
            </a:buClr>
            <a:buSzPts val="900"/>
            <a:buFont typeface="Arial"/>
            <a:buChar char="►"/>
          </a:pPr>
          <a:r>
            <a:rPr lang="en-US" sz="1100" kern="1200"/>
            <a:t>Restrictions on what authenticated users are allowed to do are often not properly enforced. Attackers can exploit these flaws to access unauthorized functionality and/or data, such as access other users' accounts, view sensitive files, modify other users’ data, change access rights, etc.</a:t>
          </a:r>
        </a:p>
      </dsp:txBody>
      <dsp:txXfrm>
        <a:off x="443856" y="3823472"/>
        <a:ext cx="9305353" cy="588429"/>
      </dsp:txXfrm>
    </dsp:sp>
    <dsp:sp modelId="{E18C93D3-3D15-4A43-B367-F8768440F9F7}">
      <dsp:nvSpPr>
        <dsp:cNvPr id="0" name=""/>
        <dsp:cNvSpPr/>
      </dsp:nvSpPr>
      <dsp:spPr>
        <a:xfrm>
          <a:off x="76087" y="3749918"/>
          <a:ext cx="735536" cy="735536"/>
        </a:xfrm>
        <a:prstGeom prst="ellipse">
          <a:avLst/>
        </a:prstGeom>
        <a:solidFill>
          <a:schemeClr val="tx1">
            <a:lumMod val="50000"/>
            <a:lumOff val="5000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46B780-C3A8-4A52-9FD8-B19692CC38C3}">
      <dsp:nvSpPr>
        <dsp:cNvPr id="0" name=""/>
        <dsp:cNvSpPr/>
      </dsp:nvSpPr>
      <dsp:spPr>
        <a:xfrm>
          <a:off x="2263291" y="1769805"/>
          <a:ext cx="1104959" cy="1104959"/>
        </a:xfrm>
        <a:prstGeom prst="ellipse">
          <a:avLst/>
        </a:prstGeom>
        <a:solidFill>
          <a:srgbClr val="4F81B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Mobile Penetration Test</a:t>
          </a:r>
        </a:p>
      </dsp:txBody>
      <dsp:txXfrm>
        <a:off x="2425108" y="1931622"/>
        <a:ext cx="781325" cy="781325"/>
      </dsp:txXfrm>
    </dsp:sp>
    <dsp:sp modelId="{8F9DE843-E1BF-477E-B093-53D980A470CB}">
      <dsp:nvSpPr>
        <dsp:cNvPr id="0" name=""/>
        <dsp:cNvSpPr/>
      </dsp:nvSpPr>
      <dsp:spPr>
        <a:xfrm rot="16200000">
          <a:off x="2585716" y="1160919"/>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1292409"/>
        <a:ext cx="347403" cy="225412"/>
      </dsp:txXfrm>
    </dsp:sp>
    <dsp:sp modelId="{857BF3F9-FB6F-4045-96C7-A6AF2A511919}">
      <dsp:nvSpPr>
        <dsp:cNvPr id="0" name=""/>
        <dsp:cNvSpPr/>
      </dsp:nvSpPr>
      <dsp:spPr>
        <a:xfrm>
          <a:off x="2373787" y="17708"/>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mproper Platform Usage </a:t>
          </a:r>
        </a:p>
      </dsp:txBody>
      <dsp:txXfrm>
        <a:off x="2503241" y="147162"/>
        <a:ext cx="625059" cy="625059"/>
      </dsp:txXfrm>
    </dsp:sp>
    <dsp:sp modelId="{2D877664-01F4-47E2-8FD6-3C6D4F959212}">
      <dsp:nvSpPr>
        <dsp:cNvPr id="0" name=""/>
        <dsp:cNvSpPr/>
      </dsp:nvSpPr>
      <dsp:spPr>
        <a:xfrm rot="18360000">
          <a:off x="3157939" y="1346845"/>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1467573"/>
        <a:ext cx="347403" cy="225412"/>
      </dsp:txXfrm>
    </dsp:sp>
    <dsp:sp modelId="{7D811323-4AB8-4554-B984-8857CC9F496F}">
      <dsp:nvSpPr>
        <dsp:cNvPr id="0" name=""/>
        <dsp:cNvSpPr/>
      </dsp:nvSpPr>
      <dsp:spPr>
        <a:xfrm>
          <a:off x="3468592" y="37343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Data Storage</a:t>
          </a:r>
        </a:p>
      </dsp:txBody>
      <dsp:txXfrm>
        <a:off x="3598046" y="502885"/>
        <a:ext cx="625059" cy="625059"/>
      </dsp:txXfrm>
    </dsp:sp>
    <dsp:sp modelId="{085F7B28-D790-47E6-B264-3E70188BF55A}">
      <dsp:nvSpPr>
        <dsp:cNvPr id="0" name=""/>
        <dsp:cNvSpPr/>
      </dsp:nvSpPr>
      <dsp:spPr>
        <a:xfrm rot="20520000">
          <a:off x="3511592" y="183360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1926158"/>
        <a:ext cx="347403" cy="225412"/>
      </dsp:txXfrm>
    </dsp:sp>
    <dsp:sp modelId="{21703973-86A1-4836-B0BF-0BA124B429C5}">
      <dsp:nvSpPr>
        <dsp:cNvPr id="0" name=""/>
        <dsp:cNvSpPr/>
      </dsp:nvSpPr>
      <dsp:spPr>
        <a:xfrm>
          <a:off x="4145219" y="1304728"/>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Communication</a:t>
          </a:r>
        </a:p>
      </dsp:txBody>
      <dsp:txXfrm>
        <a:off x="4274673" y="1434182"/>
        <a:ext cx="625059" cy="625059"/>
      </dsp:txXfrm>
    </dsp:sp>
    <dsp:sp modelId="{61EAF171-EE8C-47FD-99F3-36DD495FA75C}">
      <dsp:nvSpPr>
        <dsp:cNvPr id="0" name=""/>
        <dsp:cNvSpPr/>
      </dsp:nvSpPr>
      <dsp:spPr>
        <a:xfrm rot="1080000">
          <a:off x="3511592" y="243527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514350" y="2493000"/>
        <a:ext cx="347403" cy="225412"/>
      </dsp:txXfrm>
    </dsp:sp>
    <dsp:sp modelId="{298A2EF8-427D-42B1-99AE-91B2F41C8A24}">
      <dsp:nvSpPr>
        <dsp:cNvPr id="0" name=""/>
        <dsp:cNvSpPr/>
      </dsp:nvSpPr>
      <dsp:spPr>
        <a:xfrm>
          <a:off x="4145219" y="2455874"/>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entication</a:t>
          </a:r>
        </a:p>
      </dsp:txBody>
      <dsp:txXfrm>
        <a:off x="4274673" y="2585328"/>
        <a:ext cx="625059" cy="625059"/>
      </dsp:txXfrm>
    </dsp:sp>
    <dsp:sp modelId="{E0E8CA51-B39C-4608-9267-AB366E0B32E6}">
      <dsp:nvSpPr>
        <dsp:cNvPr id="0" name=""/>
        <dsp:cNvSpPr/>
      </dsp:nvSpPr>
      <dsp:spPr>
        <a:xfrm rot="3240000">
          <a:off x="3157939" y="2922038"/>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3181169" y="2951584"/>
        <a:ext cx="347403" cy="225412"/>
      </dsp:txXfrm>
    </dsp:sp>
    <dsp:sp modelId="{61624398-D423-44E0-A84F-95CC570CA524}">
      <dsp:nvSpPr>
        <dsp:cNvPr id="0" name=""/>
        <dsp:cNvSpPr/>
      </dsp:nvSpPr>
      <dsp:spPr>
        <a:xfrm>
          <a:off x="3468592" y="338717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ufficient Cryptography</a:t>
          </a:r>
        </a:p>
      </dsp:txBody>
      <dsp:txXfrm>
        <a:off x="3598046" y="3516625"/>
        <a:ext cx="625059" cy="625059"/>
      </dsp:txXfrm>
    </dsp:sp>
    <dsp:sp modelId="{187925BA-783A-4B59-BF16-01CD46D4575C}">
      <dsp:nvSpPr>
        <dsp:cNvPr id="0" name=""/>
        <dsp:cNvSpPr/>
      </dsp:nvSpPr>
      <dsp:spPr>
        <a:xfrm rot="5400000">
          <a:off x="2585716" y="3107965"/>
          <a:ext cx="460109" cy="375686"/>
        </a:xfrm>
        <a:prstGeom prst="rightArrow">
          <a:avLst>
            <a:gd name="adj1" fmla="val 60000"/>
            <a:gd name="adj2" fmla="val 50000"/>
          </a:avLst>
        </a:prstGeom>
        <a:solidFill>
          <a:srgbClr val="C0504D">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a:off x="2642069" y="3126749"/>
        <a:ext cx="347403" cy="225412"/>
      </dsp:txXfrm>
    </dsp:sp>
    <dsp:sp modelId="{DD4FAA5A-BF7C-415D-BB67-E88045B68D5B}">
      <dsp:nvSpPr>
        <dsp:cNvPr id="0" name=""/>
        <dsp:cNvSpPr/>
      </dsp:nvSpPr>
      <dsp:spPr>
        <a:xfrm>
          <a:off x="2373787" y="3742895"/>
          <a:ext cx="883967" cy="883967"/>
        </a:xfrm>
        <a:prstGeom prst="ellipse">
          <a:avLst/>
        </a:prstGeom>
        <a:solidFill>
          <a:srgbClr val="C0504D">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Insecure Authorization</a:t>
          </a:r>
        </a:p>
      </dsp:txBody>
      <dsp:txXfrm>
        <a:off x="2503241" y="3872349"/>
        <a:ext cx="625059" cy="625059"/>
      </dsp:txXfrm>
    </dsp:sp>
    <dsp:sp modelId="{53055EC5-C081-4136-867F-D146942D4538}">
      <dsp:nvSpPr>
        <dsp:cNvPr id="0" name=""/>
        <dsp:cNvSpPr/>
      </dsp:nvSpPr>
      <dsp:spPr>
        <a:xfrm rot="7560000">
          <a:off x="2013494" y="2922038"/>
          <a:ext cx="460109" cy="375686"/>
        </a:xfrm>
        <a:prstGeom prst="rightArrow">
          <a:avLst>
            <a:gd name="adj1" fmla="val 60000"/>
            <a:gd name="adj2" fmla="val 50000"/>
          </a:avLst>
        </a:prstGeom>
        <a:solidFill>
          <a:srgbClr val="9BBB59">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2951584"/>
        <a:ext cx="347403" cy="225412"/>
      </dsp:txXfrm>
    </dsp:sp>
    <dsp:sp modelId="{EBEE4CC0-26E9-4463-850B-D08CBB7EE58F}">
      <dsp:nvSpPr>
        <dsp:cNvPr id="0" name=""/>
        <dsp:cNvSpPr/>
      </dsp:nvSpPr>
      <dsp:spPr>
        <a:xfrm>
          <a:off x="1278982" y="3387171"/>
          <a:ext cx="883967" cy="883967"/>
        </a:xfrm>
        <a:prstGeom prst="ellipse">
          <a:avLst/>
        </a:prstGeom>
        <a:solidFill>
          <a:srgbClr val="9BBB59">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Poor Code Quality</a:t>
          </a:r>
        </a:p>
      </dsp:txBody>
      <dsp:txXfrm>
        <a:off x="1408436" y="3516625"/>
        <a:ext cx="625059" cy="625059"/>
      </dsp:txXfrm>
    </dsp:sp>
    <dsp:sp modelId="{A37BE2D8-42DC-4EA4-8F7B-F46F99196271}">
      <dsp:nvSpPr>
        <dsp:cNvPr id="0" name=""/>
        <dsp:cNvSpPr/>
      </dsp:nvSpPr>
      <dsp:spPr>
        <a:xfrm rot="9720000">
          <a:off x="1659841" y="2435277"/>
          <a:ext cx="460109" cy="375686"/>
        </a:xfrm>
        <a:prstGeom prst="rightArrow">
          <a:avLst>
            <a:gd name="adj1" fmla="val 60000"/>
            <a:gd name="adj2" fmla="val 50000"/>
          </a:avLst>
        </a:prstGeom>
        <a:solidFill>
          <a:srgbClr val="8064A2">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2493000"/>
        <a:ext cx="347403" cy="225412"/>
      </dsp:txXfrm>
    </dsp:sp>
    <dsp:sp modelId="{9B8C7F34-F250-4BE7-BA57-A0027446C2A1}">
      <dsp:nvSpPr>
        <dsp:cNvPr id="0" name=""/>
        <dsp:cNvSpPr/>
      </dsp:nvSpPr>
      <dsp:spPr>
        <a:xfrm>
          <a:off x="602356" y="2455874"/>
          <a:ext cx="883967" cy="883967"/>
        </a:xfrm>
        <a:prstGeom prst="ellipse">
          <a:avLst/>
        </a:prstGeom>
        <a:solidFill>
          <a:srgbClr val="8064A2">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Code Tampering</a:t>
          </a:r>
        </a:p>
      </dsp:txBody>
      <dsp:txXfrm>
        <a:off x="731810" y="2585328"/>
        <a:ext cx="625059" cy="625059"/>
      </dsp:txXfrm>
    </dsp:sp>
    <dsp:sp modelId="{5051BB0A-9A7F-405D-9B60-F324F9194952}">
      <dsp:nvSpPr>
        <dsp:cNvPr id="0" name=""/>
        <dsp:cNvSpPr/>
      </dsp:nvSpPr>
      <dsp:spPr>
        <a:xfrm rot="11880000">
          <a:off x="1659841" y="1833607"/>
          <a:ext cx="460109" cy="375686"/>
        </a:xfrm>
        <a:prstGeom prst="rightArrow">
          <a:avLst>
            <a:gd name="adj1" fmla="val 60000"/>
            <a:gd name="adj2" fmla="val 50000"/>
          </a:avLst>
        </a:prstGeom>
        <a:solidFill>
          <a:srgbClr val="4BACC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1769789" y="1926158"/>
        <a:ext cx="347403" cy="225412"/>
      </dsp:txXfrm>
    </dsp:sp>
    <dsp:sp modelId="{26F42865-193D-4442-9AA2-9D4C932688A6}">
      <dsp:nvSpPr>
        <dsp:cNvPr id="0" name=""/>
        <dsp:cNvSpPr/>
      </dsp:nvSpPr>
      <dsp:spPr>
        <a:xfrm>
          <a:off x="602356" y="1304728"/>
          <a:ext cx="883967" cy="883967"/>
        </a:xfrm>
        <a:prstGeom prst="ellipse">
          <a:avLst/>
        </a:prstGeom>
        <a:solidFill>
          <a:srgbClr val="4BACC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Reverse Engineering</a:t>
          </a:r>
        </a:p>
      </dsp:txBody>
      <dsp:txXfrm>
        <a:off x="731810" y="1434182"/>
        <a:ext cx="625059" cy="625059"/>
      </dsp:txXfrm>
    </dsp:sp>
    <dsp:sp modelId="{C63AEBF3-94FC-42FF-8028-4E05F4C86BF7}">
      <dsp:nvSpPr>
        <dsp:cNvPr id="0" name=""/>
        <dsp:cNvSpPr/>
      </dsp:nvSpPr>
      <dsp:spPr>
        <a:xfrm rot="14040000">
          <a:off x="2013494" y="1346845"/>
          <a:ext cx="460109" cy="375686"/>
        </a:xfrm>
        <a:prstGeom prst="rightArrow">
          <a:avLst>
            <a:gd name="adj1" fmla="val 60000"/>
            <a:gd name="adj2" fmla="val 50000"/>
          </a:avLst>
        </a:prstGeom>
        <a:solidFill>
          <a:srgbClr val="F79646">
            <a:hueOff val="0"/>
            <a:satOff val="0"/>
            <a:lumOff val="0"/>
            <a:alphaOff val="0"/>
          </a:srgb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a:solidFill>
              <a:sysClr val="window" lastClr="FFFFFF"/>
            </a:solidFill>
            <a:latin typeface="Calibri"/>
            <a:ea typeface="+mn-ea"/>
            <a:cs typeface="+mn-cs"/>
          </a:endParaRPr>
        </a:p>
      </dsp:txBody>
      <dsp:txXfrm rot="10800000">
        <a:off x="2102970" y="1467573"/>
        <a:ext cx="347403" cy="225412"/>
      </dsp:txXfrm>
    </dsp:sp>
    <dsp:sp modelId="{F0A0C56A-5ADA-48C2-B97A-DC1FCDD8D797}">
      <dsp:nvSpPr>
        <dsp:cNvPr id="0" name=""/>
        <dsp:cNvSpPr/>
      </dsp:nvSpPr>
      <dsp:spPr>
        <a:xfrm>
          <a:off x="1278982" y="373431"/>
          <a:ext cx="883967" cy="883967"/>
        </a:xfrm>
        <a:prstGeom prst="ellipse">
          <a:avLst/>
        </a:prstGeom>
        <a:solidFill>
          <a:srgbClr val="F79646">
            <a:hueOff val="0"/>
            <a:satOff val="0"/>
            <a:lumOff val="0"/>
            <a:alphaOff val="0"/>
          </a:srgbClr>
        </a:solidFill>
        <a:ln w="38100" cap="flat" cmpd="sng" algn="ctr">
          <a:solidFill>
            <a:sysClr val="window" lastClr="FFFFFF">
              <a:hueOff val="0"/>
              <a:satOff val="0"/>
              <a:lumOff val="0"/>
              <a:alphaOff val="0"/>
            </a:sysClr>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a:solidFill>
                <a:sysClr val="window" lastClr="FFFFFF"/>
              </a:solidFill>
              <a:latin typeface="Calibri"/>
              <a:ea typeface="+mn-ea"/>
              <a:cs typeface="Arial"/>
            </a:rPr>
            <a:t>Extraneous Functionality</a:t>
          </a:r>
        </a:p>
      </dsp:txBody>
      <dsp:txXfrm>
        <a:off x="1408436" y="502885"/>
        <a:ext cx="625059" cy="6250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D19B64-1A47-34DA-8C09-FBC6661221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18AF240-B466-E50A-59BA-1D9EE9BBCF9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42441CB-1318-40A1-BF80-AB245FFD0866}" type="datetimeFigureOut">
              <a:rPr lang="en-GB" smtClean="0"/>
              <a:t>10/02/2025</a:t>
            </a:fld>
            <a:endParaRPr lang="en-GB"/>
          </a:p>
        </p:txBody>
      </p:sp>
      <p:sp>
        <p:nvSpPr>
          <p:cNvPr id="4" name="Footer Placeholder 3">
            <a:extLst>
              <a:ext uri="{FF2B5EF4-FFF2-40B4-BE49-F238E27FC236}">
                <a16:creationId xmlns:a16="http://schemas.microsoft.com/office/drawing/2014/main" id="{FFC81D8B-0B90-1094-EFD5-5B085FBEFD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3A0F238-FFEE-B11D-DFDE-DA0824ACF9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4615221-D360-4BED-960A-59CBEEE407BB}" type="slidenum">
              <a:rPr lang="en-GB" smtClean="0"/>
              <a:t>‹#›</a:t>
            </a:fld>
            <a:endParaRPr lang="en-GB"/>
          </a:p>
        </p:txBody>
      </p:sp>
    </p:spTree>
    <p:extLst>
      <p:ext uri="{BB962C8B-B14F-4D97-AF65-F5344CB8AC3E}">
        <p14:creationId xmlns:p14="http://schemas.microsoft.com/office/powerpoint/2010/main" val="24717656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19C42-F70F-4374-A901-78F6E854AA03}" type="datetimeFigureOut">
              <a:rPr lang="en-GB" smtClean="0"/>
              <a:t>10/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5E22E0-AAC5-46B6-AED4-8B5F73DD5CB2}" type="slidenum">
              <a:rPr lang="en-GB" smtClean="0"/>
              <a:t>‹#›</a:t>
            </a:fld>
            <a:endParaRPr lang="en-GB"/>
          </a:p>
        </p:txBody>
      </p:sp>
    </p:spTree>
    <p:extLst>
      <p:ext uri="{BB962C8B-B14F-4D97-AF65-F5344CB8AC3E}">
        <p14:creationId xmlns:p14="http://schemas.microsoft.com/office/powerpoint/2010/main" val="5095497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A6D70F-1DDC-E36E-F55D-E5F2B405C81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210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98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06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2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71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457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732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38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662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15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3B9D95D-9AAD-7F89-38CD-996BF5142E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070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94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39E48E1-9C08-D861-770D-55DFA89B82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9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B476241-BB56-2012-AB22-890529D6CD2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9562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F90F3F-D851-1575-560B-2CA2AA62F9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E7B9B-37E6-26CE-4E8A-B32C540B4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538373-900A-6837-3FB6-4EB577B233B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B7EDE-9877-58C8-78A2-081DC5905F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F1B9B5C-49A1-959D-8B3A-081E50FBF09B}"/>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4720068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733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805E22E0-AAC5-46B6-AED4-8B5F73DD5CB2}" type="slidenum">
              <a:rPr lang="en-GB" smtClean="0"/>
              <a:t>48</a:t>
            </a:fld>
            <a:endParaRPr lang="en-GB"/>
          </a:p>
        </p:txBody>
      </p:sp>
    </p:spTree>
    <p:extLst>
      <p:ext uri="{BB962C8B-B14F-4D97-AF65-F5344CB8AC3E}">
        <p14:creationId xmlns:p14="http://schemas.microsoft.com/office/powerpoint/2010/main" val="356444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8364F-D158-4F76-8FA9-2D20258FBB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7FE467-0755-6439-DD22-E2A9E98A47D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43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68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FED77-53E7-2EA1-C209-FCC1D4226F6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5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CCDB43-188B-43FA-94F0-5B803F4FE28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8CE4C738-1DEF-338E-9671-40D56D37BB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EC6F46-A32E-1A17-9209-88ABF9A5C183}"/>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811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58BF3-7558-4222-995D-2CA01EC16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F67E5-39D7-0B82-8A38-B065343A5D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0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12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E22E0-AAC5-46B6-AED4-8B5F73DD5C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E481699-692C-67D4-313F-153692CA858E}"/>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707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42678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7634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48505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196835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81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03390"/>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SA"/>
          </a:p>
        </p:txBody>
      </p:sp>
      <p:pic>
        <p:nvPicPr>
          <p:cNvPr id="8" name="Picture 7" descr="Text, logo&#10;&#10;Description automatically generated">
            <a:extLst>
              <a:ext uri="{FF2B5EF4-FFF2-40B4-BE49-F238E27FC236}">
                <a16:creationId xmlns:a16="http://schemas.microsoft.com/office/drawing/2014/main" id="{04CDF9F7-92B2-B6AC-EAAB-F6725C277C9C}"/>
              </a:ext>
            </a:extLst>
          </p:cNvPr>
          <p:cNvPicPr>
            <a:picLocks noChangeAspect="1"/>
          </p:cNvPicPr>
          <p:nvPr userDrawn="1"/>
        </p:nvPicPr>
        <p:blipFill>
          <a:blip r:embed="rId2"/>
          <a:stretch>
            <a:fillRect/>
          </a:stretch>
        </p:blipFill>
        <p:spPr>
          <a:xfrm>
            <a:off x="298621" y="109001"/>
            <a:ext cx="1005659" cy="299845"/>
          </a:xfrm>
          <a:prstGeom prst="rect">
            <a:avLst/>
          </a:prstGeom>
        </p:spPr>
      </p:pic>
    </p:spTree>
    <p:extLst>
      <p:ext uri="{BB962C8B-B14F-4D97-AF65-F5344CB8AC3E}">
        <p14:creationId xmlns:p14="http://schemas.microsoft.com/office/powerpoint/2010/main" val="4261026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556432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2" name="Picture 11" descr="Logo&#10;&#10;Description automatically generated">
            <a:extLst>
              <a:ext uri="{FF2B5EF4-FFF2-40B4-BE49-F238E27FC236}">
                <a16:creationId xmlns:a16="http://schemas.microsoft.com/office/drawing/2014/main" id="{E81985E9-F535-EFF7-2316-A5E44A6CF5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26151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80072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364060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783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15" descr="Logo&#10;&#10;Description automatically generated">
            <a:extLst>
              <a:ext uri="{FF2B5EF4-FFF2-40B4-BE49-F238E27FC236}">
                <a16:creationId xmlns:a16="http://schemas.microsoft.com/office/drawing/2014/main" id="{9D855858-4F73-C8FB-50C5-64E5DE0AAB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623940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26280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90070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13182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876209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0420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0" name="Picture 19" descr="Logo&#10;&#10;Description automatically generated">
            <a:extLst>
              <a:ext uri="{FF2B5EF4-FFF2-40B4-BE49-F238E27FC236}">
                <a16:creationId xmlns:a16="http://schemas.microsoft.com/office/drawing/2014/main" id="{A14E190E-5906-DCEC-A05F-587F566DD5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4416873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7" name="Picture 26" descr="Logo&#10;&#10;Description automatically generated">
            <a:extLst>
              <a:ext uri="{FF2B5EF4-FFF2-40B4-BE49-F238E27FC236}">
                <a16:creationId xmlns:a16="http://schemas.microsoft.com/office/drawing/2014/main" id="{79780C66-51EA-576D-B06B-4C88BF12EC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248251" y="-8885"/>
            <a:ext cx="5847380" cy="2676935"/>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367833" y="3242124"/>
            <a:ext cx="4824612" cy="3036712"/>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 name="connsiteX0" fmla="*/ 3188114 w 5631231"/>
              <a:gd name="connsiteY0" fmla="*/ 0 h 3386033"/>
              <a:gd name="connsiteX1" fmla="*/ 3253209 w 5631231"/>
              <a:gd name="connsiteY1" fmla="*/ 0 h 3386033"/>
              <a:gd name="connsiteX2" fmla="*/ 3387610 w 5631231"/>
              <a:gd name="connsiteY2" fmla="*/ 3399 h 3386033"/>
              <a:gd name="connsiteX3" fmla="*/ 5034541 w 5631231"/>
              <a:gd name="connsiteY3" fmla="*/ 553240 h 3386033"/>
              <a:gd name="connsiteX4" fmla="*/ 5631231 w 5631231"/>
              <a:gd name="connsiteY4" fmla="*/ 888127 h 3386033"/>
              <a:gd name="connsiteX5" fmla="*/ 5197475 w 5631231"/>
              <a:gd name="connsiteY5" fmla="*/ 3386033 h 3386033"/>
              <a:gd name="connsiteX6" fmla="*/ 0 w 5631231"/>
              <a:gd name="connsiteY6" fmla="*/ 3386033 h 3386033"/>
              <a:gd name="connsiteX7" fmla="*/ 0 w 5631231"/>
              <a:gd name="connsiteY7" fmla="*/ 2865593 h 3386033"/>
              <a:gd name="connsiteX8" fmla="*/ 36404 w 5631231"/>
              <a:gd name="connsiteY8" fmla="*/ 2619328 h 3386033"/>
              <a:gd name="connsiteX9" fmla="*/ 3053714 w 5631231"/>
              <a:gd name="connsiteY9" fmla="*/ 3399 h 3386033"/>
              <a:gd name="connsiteX10" fmla="*/ 3188114 w 5631231"/>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197475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827256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91809"/>
              <a:gd name="connsiteY0" fmla="*/ 0 h 3386033"/>
              <a:gd name="connsiteX1" fmla="*/ 3253209 w 5491809"/>
              <a:gd name="connsiteY1" fmla="*/ 0 h 3386033"/>
              <a:gd name="connsiteX2" fmla="*/ 3387610 w 5491809"/>
              <a:gd name="connsiteY2" fmla="*/ 3399 h 3386033"/>
              <a:gd name="connsiteX3" fmla="*/ 5034541 w 5491809"/>
              <a:gd name="connsiteY3" fmla="*/ 553240 h 3386033"/>
              <a:gd name="connsiteX4" fmla="*/ 5491809 w 5491809"/>
              <a:gd name="connsiteY4" fmla="*/ 781603 h 3386033"/>
              <a:gd name="connsiteX5" fmla="*/ 5476319 w 5491809"/>
              <a:gd name="connsiteY5" fmla="*/ 3386033 h 3386033"/>
              <a:gd name="connsiteX6" fmla="*/ 0 w 5491809"/>
              <a:gd name="connsiteY6" fmla="*/ 3386033 h 3386033"/>
              <a:gd name="connsiteX7" fmla="*/ 0 w 5491809"/>
              <a:gd name="connsiteY7" fmla="*/ 2865593 h 3386033"/>
              <a:gd name="connsiteX8" fmla="*/ 36404 w 5491809"/>
              <a:gd name="connsiteY8" fmla="*/ 2619328 h 3386033"/>
              <a:gd name="connsiteX9" fmla="*/ 3053714 w 5491809"/>
              <a:gd name="connsiteY9" fmla="*/ 3399 h 3386033"/>
              <a:gd name="connsiteX10" fmla="*/ 3188114 w 5491809"/>
              <a:gd name="connsiteY10"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034541 w 5476319"/>
              <a:gd name="connsiteY3" fmla="*/ 553240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 name="connsiteX0" fmla="*/ 3188114 w 5476319"/>
              <a:gd name="connsiteY0" fmla="*/ 0 h 3386033"/>
              <a:gd name="connsiteX1" fmla="*/ 3253209 w 5476319"/>
              <a:gd name="connsiteY1" fmla="*/ 0 h 3386033"/>
              <a:gd name="connsiteX2" fmla="*/ 3387610 w 5476319"/>
              <a:gd name="connsiteY2" fmla="*/ 3399 h 3386033"/>
              <a:gd name="connsiteX3" fmla="*/ 5468297 w 5476319"/>
              <a:gd name="connsiteY3" fmla="*/ 796723 h 3386033"/>
              <a:gd name="connsiteX4" fmla="*/ 5476319 w 5476319"/>
              <a:gd name="connsiteY4" fmla="*/ 3386033 h 3386033"/>
              <a:gd name="connsiteX5" fmla="*/ 0 w 5476319"/>
              <a:gd name="connsiteY5" fmla="*/ 3386033 h 3386033"/>
              <a:gd name="connsiteX6" fmla="*/ 0 w 5476319"/>
              <a:gd name="connsiteY6" fmla="*/ 2865593 h 3386033"/>
              <a:gd name="connsiteX7" fmla="*/ 36404 w 5476319"/>
              <a:gd name="connsiteY7" fmla="*/ 2619328 h 3386033"/>
              <a:gd name="connsiteX8" fmla="*/ 3053714 w 5476319"/>
              <a:gd name="connsiteY8" fmla="*/ 3399 h 3386033"/>
              <a:gd name="connsiteX9" fmla="*/ 3188114 w 5476319"/>
              <a:gd name="connsiteY9" fmla="*/ 0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19" h="3386033">
                <a:moveTo>
                  <a:pt x="3188114" y="0"/>
                </a:moveTo>
                <a:lnTo>
                  <a:pt x="3253209" y="0"/>
                </a:lnTo>
                <a:lnTo>
                  <a:pt x="3387610" y="3399"/>
                </a:lnTo>
                <a:cubicBezTo>
                  <a:pt x="3995857" y="34231"/>
                  <a:pt x="5179559" y="460849"/>
                  <a:pt x="5468297" y="796723"/>
                </a:cubicBezTo>
                <a:lnTo>
                  <a:pt x="5476319" y="3386033"/>
                </a:lnTo>
                <a:lnTo>
                  <a:pt x="0" y="3386033"/>
                </a:lnTo>
                <a:lnTo>
                  <a:pt x="0" y="2865593"/>
                </a:lnTo>
                <a:lnTo>
                  <a:pt x="36404" y="2619328"/>
                </a:lnTo>
                <a:cubicBezTo>
                  <a:pt x="317029" y="1179156"/>
                  <a:pt x="1550375" y="79603"/>
                  <a:pt x="3053714" y="3399"/>
                </a:cubicBezTo>
                <a:lnTo>
                  <a:pt x="3188114" y="0"/>
                </a:ln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8743565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2264604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7488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oterOnly">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A84B3EA-7B27-8560-54BB-0C90B175562B}"/>
              </a:ext>
            </a:extLst>
          </p:cNvPr>
          <p:cNvSpPr/>
          <p:nvPr userDrawn="1"/>
        </p:nvSpPr>
        <p:spPr>
          <a:xfrm>
            <a:off x="0" y="6286791"/>
            <a:ext cx="12192000"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491C203E-4B2C-8821-E132-CC1B169B64C8}"/>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767279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26771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FooterTextOnly">
    <p:bg>
      <p:bgPr>
        <a:solidFill>
          <a:srgbClr val="CCB76A"/>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743BA1A-15DB-6560-1B9C-FC119B00F225}"/>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B4598440-AF19-CD8E-5C7A-0E24B30EEA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DE4A4-6624-2958-9C4A-628DFB655182}"/>
              </a:ext>
            </a:extLst>
          </p:cNvPr>
          <p:cNvSpPr>
            <a:spLocks noGrp="1"/>
          </p:cNvSpPr>
          <p:nvPr>
            <p:ph type="sldNum" sz="quarter" idx="12"/>
          </p:nvPr>
        </p:nvSpPr>
        <p:spPr/>
        <p:txBody>
          <a:bodyPr/>
          <a:lstStyle/>
          <a:p>
            <a:fld id="{AA430BDA-5D68-46EF-B338-4033C63DE6D6}" type="slidenum">
              <a:rPr lang="en-GB" smtClean="0"/>
              <a:t>‹#›</a:t>
            </a:fld>
            <a:endParaRPr lang="en-GB"/>
          </a:p>
        </p:txBody>
      </p:sp>
      <p:sp>
        <p:nvSpPr>
          <p:cNvPr id="6" name="Flowchart: Process 2">
            <a:extLst>
              <a:ext uri="{FF2B5EF4-FFF2-40B4-BE49-F238E27FC236}">
                <a16:creationId xmlns:a16="http://schemas.microsoft.com/office/drawing/2014/main" id="{D4E74B84-B25C-25DD-BEA4-512FFE838527}"/>
              </a:ext>
            </a:extLst>
          </p:cNvPr>
          <p:cNvSpPr/>
          <p:nvPr userDrawn="1"/>
        </p:nvSpPr>
        <p:spPr>
          <a:xfrm>
            <a:off x="208547" y="1812758"/>
            <a:ext cx="11823520" cy="4700321"/>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541 w 10000"/>
              <a:gd name="connsiteY3" fmla="*/ 10000 h 10000"/>
              <a:gd name="connsiteX4" fmla="*/ 0 w 10000"/>
              <a:gd name="connsiteY4" fmla="*/ 10000 h 10000"/>
              <a:gd name="connsiteX5" fmla="*/ 0 w 10000"/>
              <a:gd name="connsiteY5" fmla="*/ 0 h 10000"/>
              <a:gd name="connsiteX0" fmla="*/ 0 w 10000"/>
              <a:gd name="connsiteY0" fmla="*/ 0 h 10940"/>
              <a:gd name="connsiteX1" fmla="*/ 10000 w 10000"/>
              <a:gd name="connsiteY1" fmla="*/ 0 h 10940"/>
              <a:gd name="connsiteX2" fmla="*/ 10000 w 10000"/>
              <a:gd name="connsiteY2" fmla="*/ 10000 h 10940"/>
              <a:gd name="connsiteX3" fmla="*/ 1454 w 10000"/>
              <a:gd name="connsiteY3" fmla="*/ 10940 h 10940"/>
              <a:gd name="connsiteX4" fmla="*/ 0 w 10000"/>
              <a:gd name="connsiteY4" fmla="*/ 10000 h 10940"/>
              <a:gd name="connsiteX5" fmla="*/ 0 w 10000"/>
              <a:gd name="connsiteY5" fmla="*/ 0 h 10940"/>
              <a:gd name="connsiteX0" fmla="*/ 0 w 10000"/>
              <a:gd name="connsiteY0" fmla="*/ 0 h 10940"/>
              <a:gd name="connsiteX1" fmla="*/ 10000 w 10000"/>
              <a:gd name="connsiteY1" fmla="*/ 0 h 10940"/>
              <a:gd name="connsiteX2" fmla="*/ 10000 w 10000"/>
              <a:gd name="connsiteY2" fmla="*/ 10000 h 10940"/>
              <a:gd name="connsiteX3" fmla="*/ 3342 w 10000"/>
              <a:gd name="connsiteY3" fmla="*/ 10677 h 10940"/>
              <a:gd name="connsiteX4" fmla="*/ 1454 w 10000"/>
              <a:gd name="connsiteY4" fmla="*/ 10940 h 10940"/>
              <a:gd name="connsiteX5" fmla="*/ 0 w 10000"/>
              <a:gd name="connsiteY5" fmla="*/ 10000 h 10940"/>
              <a:gd name="connsiteX6" fmla="*/ 0 w 10000"/>
              <a:gd name="connsiteY6" fmla="*/ 0 h 10940"/>
              <a:gd name="connsiteX0" fmla="*/ 0 w 10000"/>
              <a:gd name="connsiteY0" fmla="*/ 0 h 10677"/>
              <a:gd name="connsiteX1" fmla="*/ 10000 w 10000"/>
              <a:gd name="connsiteY1" fmla="*/ 0 h 10677"/>
              <a:gd name="connsiteX2" fmla="*/ 10000 w 10000"/>
              <a:gd name="connsiteY2" fmla="*/ 10000 h 10677"/>
              <a:gd name="connsiteX3" fmla="*/ 3342 w 10000"/>
              <a:gd name="connsiteY3" fmla="*/ 10677 h 10677"/>
              <a:gd name="connsiteX4" fmla="*/ 1060 w 10000"/>
              <a:gd name="connsiteY4" fmla="*/ 9963 h 10677"/>
              <a:gd name="connsiteX5" fmla="*/ 0 w 10000"/>
              <a:gd name="connsiteY5" fmla="*/ 10000 h 10677"/>
              <a:gd name="connsiteX6" fmla="*/ 0 w 10000"/>
              <a:gd name="connsiteY6" fmla="*/ 0 h 10677"/>
              <a:gd name="connsiteX0" fmla="*/ 0 w 10000"/>
              <a:gd name="connsiteY0" fmla="*/ 0 h 10752"/>
              <a:gd name="connsiteX1" fmla="*/ 10000 w 10000"/>
              <a:gd name="connsiteY1" fmla="*/ 0 h 10752"/>
              <a:gd name="connsiteX2" fmla="*/ 10000 w 10000"/>
              <a:gd name="connsiteY2" fmla="*/ 10000 h 10752"/>
              <a:gd name="connsiteX3" fmla="*/ 1453 w 10000"/>
              <a:gd name="connsiteY3" fmla="*/ 10752 h 10752"/>
              <a:gd name="connsiteX4" fmla="*/ 1060 w 10000"/>
              <a:gd name="connsiteY4" fmla="*/ 9963 h 10752"/>
              <a:gd name="connsiteX5" fmla="*/ 0 w 10000"/>
              <a:gd name="connsiteY5" fmla="*/ 10000 h 10752"/>
              <a:gd name="connsiteX6" fmla="*/ 0 w 10000"/>
              <a:gd name="connsiteY6" fmla="*/ 0 h 10752"/>
              <a:gd name="connsiteX0" fmla="*/ 0 w 10014"/>
              <a:gd name="connsiteY0" fmla="*/ 0 h 11015"/>
              <a:gd name="connsiteX1" fmla="*/ 10000 w 10014"/>
              <a:gd name="connsiteY1" fmla="*/ 0 h 11015"/>
              <a:gd name="connsiteX2" fmla="*/ 10014 w 10014"/>
              <a:gd name="connsiteY2" fmla="*/ 11015 h 11015"/>
              <a:gd name="connsiteX3" fmla="*/ 1453 w 10014"/>
              <a:gd name="connsiteY3" fmla="*/ 10752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60 w 10014"/>
              <a:gd name="connsiteY4" fmla="*/ 996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00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71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33 w 10014"/>
              <a:gd name="connsiteY4" fmla="*/ 10113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150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 name="connsiteX0" fmla="*/ 0 w 10014"/>
              <a:gd name="connsiteY0" fmla="*/ 0 h 11015"/>
              <a:gd name="connsiteX1" fmla="*/ 10000 w 10014"/>
              <a:gd name="connsiteY1" fmla="*/ 0 h 11015"/>
              <a:gd name="connsiteX2" fmla="*/ 10014 w 10014"/>
              <a:gd name="connsiteY2" fmla="*/ 11015 h 11015"/>
              <a:gd name="connsiteX3" fmla="*/ 1303 w 10014"/>
              <a:gd name="connsiteY3" fmla="*/ 10978 h 11015"/>
              <a:gd name="connsiteX4" fmla="*/ 1074 w 10014"/>
              <a:gd name="connsiteY4" fmla="*/ 10226 h 11015"/>
              <a:gd name="connsiteX5" fmla="*/ 0 w 10014"/>
              <a:gd name="connsiteY5" fmla="*/ 10225 h 11015"/>
              <a:gd name="connsiteX6" fmla="*/ 0 w 10014"/>
              <a:gd name="connsiteY6" fmla="*/ 0 h 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4" h="11015">
                <a:moveTo>
                  <a:pt x="0" y="0"/>
                </a:moveTo>
                <a:lnTo>
                  <a:pt x="10000" y="0"/>
                </a:lnTo>
                <a:cubicBezTo>
                  <a:pt x="10005" y="3672"/>
                  <a:pt x="10009" y="7343"/>
                  <a:pt x="10014" y="11015"/>
                </a:cubicBezTo>
                <a:lnTo>
                  <a:pt x="1303" y="10978"/>
                </a:lnTo>
                <a:cubicBezTo>
                  <a:pt x="1199" y="10640"/>
                  <a:pt x="1178" y="10564"/>
                  <a:pt x="1074" y="10226"/>
                </a:cubicBezTo>
                <a:lnTo>
                  <a:pt x="0" y="10225"/>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eeform 12">
            <a:extLst>
              <a:ext uri="{FF2B5EF4-FFF2-40B4-BE49-F238E27FC236}">
                <a16:creationId xmlns:a16="http://schemas.microsoft.com/office/drawing/2014/main" id="{E0185E02-A71C-1DC6-16F7-02045C4CB046}"/>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7">
            <a:extLst>
              <a:ext uri="{FF2B5EF4-FFF2-40B4-BE49-F238E27FC236}">
                <a16:creationId xmlns:a16="http://schemas.microsoft.com/office/drawing/2014/main" id="{FBEE2696-45F5-9A45-4DD9-A751B51E497A}"/>
              </a:ext>
            </a:extLst>
          </p:cNvPr>
          <p:cNvSpPr/>
          <p:nvPr userDrawn="1"/>
        </p:nvSpPr>
        <p:spPr>
          <a:xfrm>
            <a:off x="838198" y="2217225"/>
            <a:ext cx="641383" cy="111760"/>
          </a:xfrm>
          <a:prstGeom prst="rect">
            <a:avLst/>
          </a:prstGeom>
          <a:solidFill>
            <a:srgbClr val="CCB76A"/>
          </a:solidFill>
        </p:spPr>
      </p:sp>
      <p:sp>
        <p:nvSpPr>
          <p:cNvPr id="12" name="Flowchart: Process 11">
            <a:extLst>
              <a:ext uri="{FF2B5EF4-FFF2-40B4-BE49-F238E27FC236}">
                <a16:creationId xmlns:a16="http://schemas.microsoft.com/office/drawing/2014/main" id="{9AC9BC2A-49AC-77BD-E266-A03971FF4D84}"/>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utoShape 3">
            <a:extLst>
              <a:ext uri="{FF2B5EF4-FFF2-40B4-BE49-F238E27FC236}">
                <a16:creationId xmlns:a16="http://schemas.microsoft.com/office/drawing/2014/main" id="{F0FEE5D6-626B-DF07-C7D4-989222CA9E34}"/>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15" name="Freeform: Shape 14">
            <a:extLst>
              <a:ext uri="{FF2B5EF4-FFF2-40B4-BE49-F238E27FC236}">
                <a16:creationId xmlns:a16="http://schemas.microsoft.com/office/drawing/2014/main" id="{C6779443-EE99-FD47-4305-E6172F9DF650}"/>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lowchart: Process 16">
            <a:extLst>
              <a:ext uri="{FF2B5EF4-FFF2-40B4-BE49-F238E27FC236}">
                <a16:creationId xmlns:a16="http://schemas.microsoft.com/office/drawing/2014/main" id="{0E48564E-19C2-EDDC-4E07-B486AC15535A}"/>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Text Placeholder 13">
            <a:extLst>
              <a:ext uri="{FF2B5EF4-FFF2-40B4-BE49-F238E27FC236}">
                <a16:creationId xmlns:a16="http://schemas.microsoft.com/office/drawing/2014/main" id="{5D72B3B8-A428-05C2-C63D-20D89FB9792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8" name="Slide Number Placeholder 4">
            <a:extLst>
              <a:ext uri="{FF2B5EF4-FFF2-40B4-BE49-F238E27FC236}">
                <a16:creationId xmlns:a16="http://schemas.microsoft.com/office/drawing/2014/main" id="{D7C02A1B-0F65-E48C-8A0F-6FB92CD8C59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102959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HeaderFooter">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56" name="Pentagon 7">
            <a:extLst>
              <a:ext uri="{FF2B5EF4-FFF2-40B4-BE49-F238E27FC236}">
                <a16:creationId xmlns:a16="http://schemas.microsoft.com/office/drawing/2014/main" id="{760BFB03-0B9F-5774-F7EC-093719489375}"/>
              </a:ext>
            </a:extLst>
          </p:cNvPr>
          <p:cNvSpPr/>
          <p:nvPr/>
        </p:nvSpPr>
        <p:spPr bwMode="auto">
          <a:xfrm flipV="1">
            <a:off x="5275021" y="2737957"/>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3" name="Pentagon 28">
            <a:extLst>
              <a:ext uri="{FF2B5EF4-FFF2-40B4-BE49-F238E27FC236}">
                <a16:creationId xmlns:a16="http://schemas.microsoft.com/office/drawing/2014/main" id="{BEA1C361-0F77-81D7-A8F6-FF60EE689169}"/>
              </a:ext>
            </a:extLst>
          </p:cNvPr>
          <p:cNvSpPr/>
          <p:nvPr/>
        </p:nvSpPr>
        <p:spPr bwMode="auto">
          <a:xfrm rot="10800000" flipH="1" flipV="1">
            <a:off x="5275021" y="3451814"/>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9" name="Pentagon 34">
            <a:extLst>
              <a:ext uri="{FF2B5EF4-FFF2-40B4-BE49-F238E27FC236}">
                <a16:creationId xmlns:a16="http://schemas.microsoft.com/office/drawing/2014/main" id="{6EC6B45D-5FF8-FF1F-7F14-42368750AF72}"/>
              </a:ext>
            </a:extLst>
          </p:cNvPr>
          <p:cNvSpPr/>
          <p:nvPr/>
        </p:nvSpPr>
        <p:spPr bwMode="auto">
          <a:xfrm rot="10800000" flipH="1" flipV="1">
            <a:off x="5275021" y="4184341"/>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46" name="Pentagon 43">
            <a:extLst>
              <a:ext uri="{FF2B5EF4-FFF2-40B4-BE49-F238E27FC236}">
                <a16:creationId xmlns:a16="http://schemas.microsoft.com/office/drawing/2014/main" id="{8E95B975-5082-1200-DEE6-1417E962CB9E}"/>
              </a:ext>
            </a:extLst>
          </p:cNvPr>
          <p:cNvSpPr/>
          <p:nvPr/>
        </p:nvSpPr>
        <p:spPr bwMode="auto">
          <a:xfrm flipV="1">
            <a:off x="5275021" y="2003062"/>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59" name="Pentagon 7">
            <a:extLst>
              <a:ext uri="{FF2B5EF4-FFF2-40B4-BE49-F238E27FC236}">
                <a16:creationId xmlns:a16="http://schemas.microsoft.com/office/drawing/2014/main" id="{B9BA431E-E5D8-3F57-1663-9FC1D39D5C02}"/>
              </a:ext>
            </a:extLst>
          </p:cNvPr>
          <p:cNvSpPr/>
          <p:nvPr userDrawn="1"/>
        </p:nvSpPr>
        <p:spPr bwMode="auto">
          <a:xfrm flipV="1">
            <a:off x="5275021" y="4894310"/>
            <a:ext cx="6618064" cy="640080"/>
          </a:xfrm>
          <a:prstGeom prst="homePlate">
            <a:avLst>
              <a:gd name="adj" fmla="val 53871"/>
            </a:avLst>
          </a:prstGeom>
          <a:solidFill>
            <a:schemeClr val="tx1"/>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61" name="Pentagon 43">
            <a:extLst>
              <a:ext uri="{FF2B5EF4-FFF2-40B4-BE49-F238E27FC236}">
                <a16:creationId xmlns:a16="http://schemas.microsoft.com/office/drawing/2014/main" id="{87E13DDD-F943-B80E-BA2F-71DC6394A6D0}"/>
              </a:ext>
            </a:extLst>
          </p:cNvPr>
          <p:cNvSpPr/>
          <p:nvPr userDrawn="1"/>
        </p:nvSpPr>
        <p:spPr bwMode="auto">
          <a:xfrm flipV="1">
            <a:off x="5275021" y="5633975"/>
            <a:ext cx="6618064" cy="640080"/>
          </a:xfrm>
          <a:prstGeom prst="homePlate">
            <a:avLst>
              <a:gd name="adj" fmla="val 53871"/>
            </a:avLst>
          </a:prstGeom>
          <a:solidFill>
            <a:schemeClr val="tx1">
              <a:lumMod val="65000"/>
              <a:lumOff val="35000"/>
            </a:schemeClr>
          </a:solidFill>
          <a:ln w="9525">
            <a:noFill/>
            <a:round/>
            <a:headEnd/>
            <a:tailEnd/>
          </a:ln>
        </p:spPr>
        <p:txBody>
          <a:bodyPr vert="horz" wrap="square" lIns="243840" tIns="121920" rIns="243840" bIns="121920" numCol="1" rtlCol="0" anchor="t" anchorCtr="0" compatLnSpc="1">
            <a:prstTxWarp prst="textNoShape">
              <a:avLst/>
            </a:prstTxWarp>
          </a:bodyPr>
          <a:lstStyle/>
          <a:p>
            <a:pPr algn="ctr"/>
            <a:endParaRPr lang="en-US" sz="4800"/>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0" y="1520848"/>
            <a:ext cx="6604000"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Lst>
            <a:ahLst/>
            <a:cxnLst>
              <a:cxn ang="0">
                <a:pos x="connsiteX0" y="connsiteY0"/>
              </a:cxn>
              <a:cxn ang="0">
                <a:pos x="connsiteX1" y="connsiteY1"/>
              </a:cxn>
              <a:cxn ang="0">
                <a:pos x="connsiteX2" y="connsiteY2"/>
              </a:cxn>
              <a:cxn ang="0">
                <a:pos x="connsiteX3" y="connsiteY3"/>
              </a:cxn>
            </a:cxnLst>
            <a:rect l="l" t="t" r="r" b="b"/>
            <a:pathLst>
              <a:path w="6604000" h="3934052">
                <a:moveTo>
                  <a:pt x="0" y="0"/>
                </a:moveTo>
                <a:lnTo>
                  <a:pt x="6604000" y="0"/>
                </a:lnTo>
                <a:lnTo>
                  <a:pt x="5093968" y="3934052"/>
                </a:lnTo>
                <a:lnTo>
                  <a:pt x="0" y="3934052"/>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63083" y="1872344"/>
            <a:ext cx="4484687" cy="4688112"/>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5115142" y="1880233"/>
            <a:ext cx="1494970" cy="4503761"/>
          </a:xfrm>
          <a:prstGeom prst="parallelogram">
            <a:avLst>
              <a:gd name="adj" fmla="val 8409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 Placeholder 62">
            <a:extLst>
              <a:ext uri="{FF2B5EF4-FFF2-40B4-BE49-F238E27FC236}">
                <a16:creationId xmlns:a16="http://schemas.microsoft.com/office/drawing/2014/main" id="{D59764E5-6D33-62E4-3686-874AA67544B0}"/>
              </a:ext>
            </a:extLst>
          </p:cNvPr>
          <p:cNvSpPr>
            <a:spLocks noGrp="1"/>
          </p:cNvSpPr>
          <p:nvPr>
            <p:ph type="body" sz="quarter" idx="17"/>
          </p:nvPr>
        </p:nvSpPr>
        <p:spPr>
          <a:xfrm>
            <a:off x="6595598" y="2078514"/>
            <a:ext cx="4878100" cy="484994"/>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4" name="Text Placeholder 62">
            <a:extLst>
              <a:ext uri="{FF2B5EF4-FFF2-40B4-BE49-F238E27FC236}">
                <a16:creationId xmlns:a16="http://schemas.microsoft.com/office/drawing/2014/main" id="{1559CADA-9467-AB82-749A-351A3D60E2C9}"/>
              </a:ext>
            </a:extLst>
          </p:cNvPr>
          <p:cNvSpPr>
            <a:spLocks noGrp="1"/>
          </p:cNvSpPr>
          <p:nvPr>
            <p:ph type="body" sz="quarter" idx="18"/>
          </p:nvPr>
        </p:nvSpPr>
        <p:spPr>
          <a:xfrm>
            <a:off x="6595597" y="2769067"/>
            <a:ext cx="4878100" cy="535847"/>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5" name="Text Placeholder 62">
            <a:extLst>
              <a:ext uri="{FF2B5EF4-FFF2-40B4-BE49-F238E27FC236}">
                <a16:creationId xmlns:a16="http://schemas.microsoft.com/office/drawing/2014/main" id="{021DC75F-3AEB-4852-DFDE-58F7276FD6AC}"/>
              </a:ext>
            </a:extLst>
          </p:cNvPr>
          <p:cNvSpPr>
            <a:spLocks noGrp="1"/>
          </p:cNvSpPr>
          <p:nvPr>
            <p:ph type="body" sz="quarter" idx="19"/>
          </p:nvPr>
        </p:nvSpPr>
        <p:spPr>
          <a:xfrm>
            <a:off x="6595597" y="352517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6" name="Text Placeholder 62">
            <a:extLst>
              <a:ext uri="{FF2B5EF4-FFF2-40B4-BE49-F238E27FC236}">
                <a16:creationId xmlns:a16="http://schemas.microsoft.com/office/drawing/2014/main" id="{AB166346-FD2D-DAC4-F1D3-DBAF25E91E38}"/>
              </a:ext>
            </a:extLst>
          </p:cNvPr>
          <p:cNvSpPr>
            <a:spLocks noGrp="1"/>
          </p:cNvSpPr>
          <p:nvPr>
            <p:ph type="body" sz="quarter" idx="20"/>
          </p:nvPr>
        </p:nvSpPr>
        <p:spPr>
          <a:xfrm>
            <a:off x="6610112" y="4237792"/>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7" name="Text Placeholder 62">
            <a:extLst>
              <a:ext uri="{FF2B5EF4-FFF2-40B4-BE49-F238E27FC236}">
                <a16:creationId xmlns:a16="http://schemas.microsoft.com/office/drawing/2014/main" id="{8C3648DD-82DA-61D1-170D-1971DFCA7B0A}"/>
              </a:ext>
            </a:extLst>
          </p:cNvPr>
          <p:cNvSpPr>
            <a:spLocks noGrp="1"/>
          </p:cNvSpPr>
          <p:nvPr>
            <p:ph type="body" sz="quarter" idx="21"/>
          </p:nvPr>
        </p:nvSpPr>
        <p:spPr>
          <a:xfrm>
            <a:off x="6624627" y="496405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68" name="Text Placeholder 62">
            <a:extLst>
              <a:ext uri="{FF2B5EF4-FFF2-40B4-BE49-F238E27FC236}">
                <a16:creationId xmlns:a16="http://schemas.microsoft.com/office/drawing/2014/main" id="{7F6B1580-DE46-84EC-23CB-E220A6119158}"/>
              </a:ext>
            </a:extLst>
          </p:cNvPr>
          <p:cNvSpPr>
            <a:spLocks noGrp="1"/>
          </p:cNvSpPr>
          <p:nvPr>
            <p:ph type="body" sz="quarter" idx="22"/>
          </p:nvPr>
        </p:nvSpPr>
        <p:spPr>
          <a:xfrm>
            <a:off x="6639142" y="5717616"/>
            <a:ext cx="4878100" cy="497730"/>
          </a:xfrm>
        </p:spPr>
        <p:txBody>
          <a:bodyPr anchor="ctr">
            <a:normAutofit/>
          </a:bodyPr>
          <a:lstStyle>
            <a:lvl1pPr marL="285750" indent="-285750">
              <a:buFont typeface="Arial" panose="020B0604020202020204" pitchFamily="34" charset="0"/>
              <a:buChar cha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Slide Number Placeholder 4">
            <a:extLst>
              <a:ext uri="{FF2B5EF4-FFF2-40B4-BE49-F238E27FC236}">
                <a16:creationId xmlns:a16="http://schemas.microsoft.com/office/drawing/2014/main" id="{0773ED8C-8769-3E95-5AFE-F6E36F68631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410147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552237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732274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9630035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55988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3148155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00558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AndImage">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0124BABE-AEAC-BB18-EF7E-A9BD7D46BA7D}"/>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6" name="Parallelogram 5">
            <a:extLst>
              <a:ext uri="{FF2B5EF4-FFF2-40B4-BE49-F238E27FC236}">
                <a16:creationId xmlns:a16="http://schemas.microsoft.com/office/drawing/2014/main" id="{E273AEFE-0BB4-26F6-A4A9-8B7BC25B84F6}"/>
              </a:ext>
            </a:extLst>
          </p:cNvPr>
          <p:cNvSpPr/>
          <p:nvPr userDrawn="1"/>
        </p:nvSpPr>
        <p:spPr>
          <a:xfrm>
            <a:off x="7888515" y="544284"/>
            <a:ext cx="1531257" cy="3976915"/>
          </a:xfrm>
          <a:prstGeom prst="parallelogram">
            <a:avLst>
              <a:gd name="adj" fmla="val 5204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CF7081A4-8E9B-06F8-DCC6-07AD0684A97B}"/>
              </a:ext>
            </a:extLst>
          </p:cNvPr>
          <p:cNvSpPr/>
          <p:nvPr userDrawn="1"/>
        </p:nvSpPr>
        <p:spPr>
          <a:xfrm>
            <a:off x="7286170" y="2227941"/>
            <a:ext cx="1074057" cy="3976915"/>
          </a:xfrm>
          <a:prstGeom prst="parallelogram">
            <a:avLst>
              <a:gd name="adj" fmla="val 74643"/>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55402D6-70AA-A981-9640-18E5830B62A9}"/>
              </a:ext>
            </a:extLst>
          </p:cNvPr>
          <p:cNvCxnSpPr/>
          <p:nvPr userDrawn="1"/>
        </p:nvCxnSpPr>
        <p:spPr>
          <a:xfrm flipH="1">
            <a:off x="7634514" y="4093029"/>
            <a:ext cx="551543" cy="2764971"/>
          </a:xfrm>
          <a:prstGeom prst="line">
            <a:avLst/>
          </a:prstGeom>
          <a:ln w="28575"/>
        </p:spPr>
        <p:style>
          <a:lnRef idx="1">
            <a:schemeClr val="dk1"/>
          </a:lnRef>
          <a:fillRef idx="0">
            <a:schemeClr val="dk1"/>
          </a:fillRef>
          <a:effectRef idx="0">
            <a:schemeClr val="dk1"/>
          </a:effectRef>
          <a:fontRef idx="minor">
            <a:schemeClr val="tx1"/>
          </a:fontRef>
        </p:style>
      </p:cxnSp>
      <p:sp>
        <p:nvSpPr>
          <p:cNvPr id="10" name="Picture Placeholder 9">
            <a:extLst>
              <a:ext uri="{FF2B5EF4-FFF2-40B4-BE49-F238E27FC236}">
                <a16:creationId xmlns:a16="http://schemas.microsoft.com/office/drawing/2014/main" id="{41215C29-C114-6C10-A82E-C13652151869}"/>
              </a:ext>
            </a:extLst>
          </p:cNvPr>
          <p:cNvSpPr>
            <a:spLocks noGrp="1"/>
          </p:cNvSpPr>
          <p:nvPr>
            <p:ph type="pic" sz="quarter" idx="13"/>
          </p:nvPr>
        </p:nvSpPr>
        <p:spPr>
          <a:xfrm>
            <a:off x="7852228" y="0"/>
            <a:ext cx="4339772" cy="6858000"/>
          </a:xfrm>
          <a:custGeom>
            <a:avLst/>
            <a:gdLst>
              <a:gd name="connsiteX0" fmla="*/ 1057901 w 3472730"/>
              <a:gd name="connsiteY0" fmla="*/ 0 h 6683828"/>
              <a:gd name="connsiteX1" fmla="*/ 3472730 w 3472730"/>
              <a:gd name="connsiteY1" fmla="*/ 0 h 6683828"/>
              <a:gd name="connsiteX2" fmla="*/ 3472730 w 3472730"/>
              <a:gd name="connsiteY2" fmla="*/ 6663756 h 6683828"/>
              <a:gd name="connsiteX3" fmla="*/ 0 w 3472730"/>
              <a:gd name="connsiteY3" fmla="*/ 6683828 h 6683828"/>
            </a:gdLst>
            <a:ahLst/>
            <a:cxnLst>
              <a:cxn ang="0">
                <a:pos x="connsiteX0" y="connsiteY0"/>
              </a:cxn>
              <a:cxn ang="0">
                <a:pos x="connsiteX1" y="connsiteY1"/>
              </a:cxn>
              <a:cxn ang="0">
                <a:pos x="connsiteX2" y="connsiteY2"/>
              </a:cxn>
              <a:cxn ang="0">
                <a:pos x="connsiteX3" y="connsiteY3"/>
              </a:cxn>
            </a:cxnLst>
            <a:rect l="l" t="t" r="r" b="b"/>
            <a:pathLst>
              <a:path w="3472730" h="6683828">
                <a:moveTo>
                  <a:pt x="1057901" y="0"/>
                </a:moveTo>
                <a:lnTo>
                  <a:pt x="3472730" y="0"/>
                </a:lnTo>
                <a:lnTo>
                  <a:pt x="3472730" y="6663756"/>
                </a:lnTo>
                <a:lnTo>
                  <a:pt x="0" y="6683828"/>
                </a:lnTo>
                <a:close/>
              </a:path>
            </a:pathLst>
          </a:custGeom>
        </p:spPr>
        <p:txBody>
          <a:bodyPr wrap="square">
            <a:noAutofit/>
          </a:bodyPr>
          <a:lstStyle/>
          <a:p>
            <a:endParaRPr lang="en-GB"/>
          </a:p>
        </p:txBody>
      </p:sp>
      <p:sp>
        <p:nvSpPr>
          <p:cNvPr id="14" name="Text Placeholder 13">
            <a:extLst>
              <a:ext uri="{FF2B5EF4-FFF2-40B4-BE49-F238E27FC236}">
                <a16:creationId xmlns:a16="http://schemas.microsoft.com/office/drawing/2014/main" id="{6AE71A06-F7B2-097D-5713-FE3CA0E70518}"/>
              </a:ext>
            </a:extLst>
          </p:cNvPr>
          <p:cNvSpPr>
            <a:spLocks noGrp="1"/>
          </p:cNvSpPr>
          <p:nvPr>
            <p:ph type="body" sz="quarter" idx="14"/>
          </p:nvPr>
        </p:nvSpPr>
        <p:spPr>
          <a:xfrm>
            <a:off x="0" y="-1"/>
            <a:ext cx="9187543" cy="1520849"/>
          </a:xfrm>
        </p:spPr>
        <p:txBody>
          <a:bodyPr anchor="ctr">
            <a:normAutofit/>
          </a:bodyPr>
          <a:lstStyle>
            <a:lvl1pPr marL="0" indent="914400">
              <a:buNone/>
              <a:defRPr sz="4000" b="1">
                <a:solidFill>
                  <a:schemeClr val="bg1"/>
                </a:solidFill>
              </a:defRPr>
            </a:lvl1pPr>
          </a:lstStyle>
          <a:p>
            <a:pPr lvl="0"/>
            <a:endParaRPr lang="en-GB"/>
          </a:p>
        </p:txBody>
      </p:sp>
      <p:pic>
        <p:nvPicPr>
          <p:cNvPr id="18" name="Picture 17" descr="Logo&#10;&#10;Description automatically generated">
            <a:extLst>
              <a:ext uri="{FF2B5EF4-FFF2-40B4-BE49-F238E27FC236}">
                <a16:creationId xmlns:a16="http://schemas.microsoft.com/office/drawing/2014/main" id="{CED0794A-A85B-B586-0C8C-510D006D0B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5058" y="6382328"/>
            <a:ext cx="833442" cy="414260"/>
          </a:xfrm>
          <a:prstGeom prst="rect">
            <a:avLst/>
          </a:prstGeom>
        </p:spPr>
      </p:pic>
      <p:sp>
        <p:nvSpPr>
          <p:cNvPr id="16" name="Freeform: Shape 15">
            <a:extLst>
              <a:ext uri="{FF2B5EF4-FFF2-40B4-BE49-F238E27FC236}">
                <a16:creationId xmlns:a16="http://schemas.microsoft.com/office/drawing/2014/main" id="{280AFE97-463F-E2EA-6F5F-E09C4A19C9D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Slide Number Placeholder 4">
            <a:extLst>
              <a:ext uri="{FF2B5EF4-FFF2-40B4-BE49-F238E27FC236}">
                <a16:creationId xmlns:a16="http://schemas.microsoft.com/office/drawing/2014/main" id="{052936E6-2BBC-7669-4B28-FFA71915166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581369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FooterPhotos">
    <p:spTree>
      <p:nvGrpSpPr>
        <p:cNvPr id="1" name=""/>
        <p:cNvGrpSpPr/>
        <p:nvPr/>
      </p:nvGrpSpPr>
      <p:grpSpPr>
        <a:xfrm>
          <a:off x="0" y="0"/>
          <a:ext cx="0" cy="0"/>
          <a:chOff x="0" y="0"/>
          <a:chExt cx="0" cy="0"/>
        </a:xfrm>
      </p:grpSpPr>
      <p:sp>
        <p:nvSpPr>
          <p:cNvPr id="24" name="AutoShape 3">
            <a:extLst>
              <a:ext uri="{FF2B5EF4-FFF2-40B4-BE49-F238E27FC236}">
                <a16:creationId xmlns:a16="http://schemas.microsoft.com/office/drawing/2014/main" id="{95D60F84-DAC6-D62A-3A4B-4C31E2584A5D}"/>
              </a:ext>
            </a:extLst>
          </p:cNvPr>
          <p:cNvSpPr/>
          <p:nvPr userDrawn="1"/>
        </p:nvSpPr>
        <p:spPr>
          <a:xfrm>
            <a:off x="-14514" y="0"/>
            <a:ext cx="12206514" cy="1520849"/>
          </a:xfrm>
          <a:prstGeom prst="rect">
            <a:avLst/>
          </a:prstGeom>
          <a:solidFill>
            <a:schemeClr val="bg1"/>
          </a:solidFill>
        </p:spPr>
        <p:txBody>
          <a:bodyPr anchor="ctr"/>
          <a:lstStyle/>
          <a:p>
            <a:pPr indent="914400"/>
            <a:endParaRPr lang="en-GB" sz="4400" b="1">
              <a:solidFill>
                <a:schemeClr val="bg1"/>
              </a:solidFill>
            </a:endParaRPr>
          </a:p>
        </p:txBody>
      </p:sp>
      <p:sp>
        <p:nvSpPr>
          <p:cNvPr id="28" name="Flowchart: Process 27">
            <a:extLst>
              <a:ext uri="{FF2B5EF4-FFF2-40B4-BE49-F238E27FC236}">
                <a16:creationId xmlns:a16="http://schemas.microsoft.com/office/drawing/2014/main" id="{F64D12ED-A8B7-D16B-B8DD-E86E6D6613C5}"/>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22" name="Rectangle 21">
            <a:extLst>
              <a:ext uri="{FF2B5EF4-FFF2-40B4-BE49-F238E27FC236}">
                <a16:creationId xmlns:a16="http://schemas.microsoft.com/office/drawing/2014/main" id="{0D443136-F9E2-D1E6-DA94-B8B210F27BA5}"/>
              </a:ext>
            </a:extLst>
          </p:cNvPr>
          <p:cNvSpPr/>
          <p:nvPr userDrawn="1"/>
        </p:nvSpPr>
        <p:spPr>
          <a:xfrm>
            <a:off x="0" y="1563391"/>
            <a:ext cx="12192000" cy="5294609"/>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BF12D7CF-A7D2-1027-D1A4-10D3B19FA243}"/>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4933310" y="1"/>
            <a:ext cx="6488456" cy="3036711"/>
          </a:xfrm>
          <a:custGeom>
            <a:avLst/>
            <a:gdLst>
              <a:gd name="connsiteX0" fmla="*/ 0 w 6488456"/>
              <a:gd name="connsiteY0" fmla="*/ 0 h 3036711"/>
              <a:gd name="connsiteX1" fmla="*/ 6488456 w 6488456"/>
              <a:gd name="connsiteY1" fmla="*/ 0 h 3036711"/>
              <a:gd name="connsiteX2" fmla="*/ 6482686 w 6488456"/>
              <a:gd name="connsiteY2" fmla="*/ 114279 h 3036711"/>
              <a:gd name="connsiteX3" fmla="*/ 3244228 w 6488456"/>
              <a:gd name="connsiteY3" fmla="*/ 3036711 h 3036711"/>
              <a:gd name="connsiteX4" fmla="*/ 5771 w 6488456"/>
              <a:gd name="connsiteY4" fmla="*/ 114279 h 3036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8456" h="3036711">
                <a:moveTo>
                  <a:pt x="0" y="0"/>
                </a:moveTo>
                <a:lnTo>
                  <a:pt x="6488456" y="0"/>
                </a:lnTo>
                <a:lnTo>
                  <a:pt x="6482686" y="114279"/>
                </a:lnTo>
                <a:cubicBezTo>
                  <a:pt x="6315984" y="1755766"/>
                  <a:pt x="4929697" y="3036711"/>
                  <a:pt x="3244228" y="3036711"/>
                </a:cubicBezTo>
                <a:cubicBezTo>
                  <a:pt x="1558760" y="3036711"/>
                  <a:pt x="172473" y="1755766"/>
                  <a:pt x="5771" y="114279"/>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C94A179C-7417-8E2C-E831-0462296C5686}"/>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flipH="1">
            <a:off x="6993989" y="2900758"/>
            <a:ext cx="5198011" cy="3957242"/>
          </a:xfrm>
          <a:custGeom>
            <a:avLst/>
            <a:gdLst>
              <a:gd name="connsiteX0" fmla="*/ 1942747 w 5198011"/>
              <a:gd name="connsiteY0" fmla="*/ 0 h 3957242"/>
              <a:gd name="connsiteX1" fmla="*/ 5198011 w 5198011"/>
              <a:gd name="connsiteY1" fmla="*/ 3255264 h 3957242"/>
              <a:gd name="connsiteX2" fmla="*/ 5131876 w 5198011"/>
              <a:gd name="connsiteY2" fmla="*/ 3911314 h 3957242"/>
              <a:gd name="connsiteX3" fmla="*/ 5120066 w 5198011"/>
              <a:gd name="connsiteY3" fmla="*/ 3957242 h 3957242"/>
              <a:gd name="connsiteX4" fmla="*/ 0 w 5198011"/>
              <a:gd name="connsiteY4" fmla="*/ 3957242 h 3957242"/>
              <a:gd name="connsiteX5" fmla="*/ 0 w 5198011"/>
              <a:gd name="connsiteY5" fmla="*/ 647700 h 3957242"/>
              <a:gd name="connsiteX6" fmla="*/ 122698 w 5198011"/>
              <a:gd name="connsiteY6" fmla="*/ 555948 h 3957242"/>
              <a:gd name="connsiteX7" fmla="*/ 1942747 w 5198011"/>
              <a:gd name="connsiteY7" fmla="*/ 0 h 39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8011" h="3957242">
                <a:moveTo>
                  <a:pt x="1942747" y="0"/>
                </a:moveTo>
                <a:cubicBezTo>
                  <a:pt x="3740580" y="0"/>
                  <a:pt x="5198011" y="1457431"/>
                  <a:pt x="5198011" y="3255264"/>
                </a:cubicBezTo>
                <a:cubicBezTo>
                  <a:pt x="5198011" y="3479993"/>
                  <a:pt x="5175239" y="3699404"/>
                  <a:pt x="5131876" y="3911314"/>
                </a:cubicBezTo>
                <a:lnTo>
                  <a:pt x="5120066" y="3957242"/>
                </a:lnTo>
                <a:lnTo>
                  <a:pt x="0" y="3957242"/>
                </a:lnTo>
                <a:lnTo>
                  <a:pt x="0" y="647700"/>
                </a:lnTo>
                <a:lnTo>
                  <a:pt x="122698" y="555948"/>
                </a:lnTo>
                <a:cubicBezTo>
                  <a:pt x="642241" y="204951"/>
                  <a:pt x="1268560" y="0"/>
                  <a:pt x="1942747" y="0"/>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12">
            <a:extLst>
              <a:ext uri="{FF2B5EF4-FFF2-40B4-BE49-F238E27FC236}">
                <a16:creationId xmlns:a16="http://schemas.microsoft.com/office/drawing/2014/main" id="{9873AFBC-BF28-26CC-AFCC-6C54F6154D70}"/>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3" name="Flowchart: Process 22">
            <a:extLst>
              <a:ext uri="{FF2B5EF4-FFF2-40B4-BE49-F238E27FC236}">
                <a16:creationId xmlns:a16="http://schemas.microsoft.com/office/drawing/2014/main" id="{DDE15B1A-CB56-C29C-CFC3-4279B4C7BE05}"/>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AAD8E3E1-E51E-99FC-DCBB-1E26B1E08A7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6" name="Freeform: Shape 25">
            <a:extLst>
              <a:ext uri="{FF2B5EF4-FFF2-40B4-BE49-F238E27FC236}">
                <a16:creationId xmlns:a16="http://schemas.microsoft.com/office/drawing/2014/main" id="{EDE1F6E8-57CA-8AA5-784E-6BC31428D28E}"/>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Picture Placeholder 34">
            <a:extLst>
              <a:ext uri="{FF2B5EF4-FFF2-40B4-BE49-F238E27FC236}">
                <a16:creationId xmlns:a16="http://schemas.microsoft.com/office/drawing/2014/main" id="{0C2B337F-2D11-D169-C5ED-1E77DEE6D396}"/>
              </a:ext>
            </a:extLst>
          </p:cNvPr>
          <p:cNvSpPr>
            <a:spLocks noGrp="1"/>
          </p:cNvSpPr>
          <p:nvPr>
            <p:ph type="pic" sz="quarter" idx="15"/>
          </p:nvPr>
        </p:nvSpPr>
        <p:spPr>
          <a:xfrm>
            <a:off x="5155253" y="-56117"/>
            <a:ext cx="6044570" cy="2860038"/>
          </a:xfrm>
          <a:custGeom>
            <a:avLst/>
            <a:gdLst>
              <a:gd name="connsiteX0" fmla="*/ 0 w 6386950"/>
              <a:gd name="connsiteY0" fmla="*/ 0 h 3022038"/>
              <a:gd name="connsiteX1" fmla="*/ 6386553 w 6386950"/>
              <a:gd name="connsiteY1" fmla="*/ 14269 h 3022038"/>
              <a:gd name="connsiteX2" fmla="*/ 3193276 w 6386950"/>
              <a:gd name="connsiteY2" fmla="*/ 3022035 h 3022038"/>
              <a:gd name="connsiteX3" fmla="*/ 0 w 6386950"/>
              <a:gd name="connsiteY3" fmla="*/ 0 h 3022038"/>
            </a:gdLst>
            <a:ahLst/>
            <a:cxnLst>
              <a:cxn ang="0">
                <a:pos x="connsiteX0" y="connsiteY0"/>
              </a:cxn>
              <a:cxn ang="0">
                <a:pos x="connsiteX1" y="connsiteY1"/>
              </a:cxn>
              <a:cxn ang="0">
                <a:pos x="connsiteX2" y="connsiteY2"/>
              </a:cxn>
              <a:cxn ang="0">
                <a:pos x="connsiteX3" y="connsiteY3"/>
              </a:cxn>
            </a:cxnLst>
            <a:rect l="l" t="t" r="r" b="b"/>
            <a:pathLst>
              <a:path w="6386950" h="3022038">
                <a:moveTo>
                  <a:pt x="0" y="0"/>
                </a:moveTo>
                <a:cubicBezTo>
                  <a:pt x="487025" y="40967"/>
                  <a:pt x="5956609" y="26696"/>
                  <a:pt x="6386553" y="14269"/>
                </a:cubicBezTo>
                <a:cubicBezTo>
                  <a:pt x="6416937" y="1742785"/>
                  <a:pt x="4700073" y="3024412"/>
                  <a:pt x="3193276" y="3022035"/>
                </a:cubicBezTo>
                <a:cubicBezTo>
                  <a:pt x="1686480" y="3019658"/>
                  <a:pt x="57081" y="1841337"/>
                  <a:pt x="0" y="0"/>
                </a:cubicBezTo>
                <a:close/>
              </a:path>
            </a:pathLst>
          </a:custGeom>
        </p:spPr>
        <p:txBody>
          <a:bodyPr wrap="square">
            <a:noAutofit/>
          </a:bodyPr>
          <a:lstStyle/>
          <a:p>
            <a:endParaRPr lang="en-GB"/>
          </a:p>
        </p:txBody>
      </p:sp>
      <p:sp>
        <p:nvSpPr>
          <p:cNvPr id="42" name="Picture Placeholder 41">
            <a:extLst>
              <a:ext uri="{FF2B5EF4-FFF2-40B4-BE49-F238E27FC236}">
                <a16:creationId xmlns:a16="http://schemas.microsoft.com/office/drawing/2014/main" id="{A8C299B1-D395-C10C-DE54-5E0EC0C2C8C4}"/>
              </a:ext>
            </a:extLst>
          </p:cNvPr>
          <p:cNvSpPr>
            <a:spLocks noGrp="1"/>
          </p:cNvSpPr>
          <p:nvPr>
            <p:ph type="pic" sz="quarter" idx="16"/>
          </p:nvPr>
        </p:nvSpPr>
        <p:spPr>
          <a:xfrm>
            <a:off x="7258649" y="3283067"/>
            <a:ext cx="4947866" cy="3223419"/>
          </a:xfrm>
          <a:custGeom>
            <a:avLst/>
            <a:gdLst>
              <a:gd name="connsiteX0" fmla="*/ 3188114 w 5197475"/>
              <a:gd name="connsiteY0" fmla="*/ 0 h 3386033"/>
              <a:gd name="connsiteX1" fmla="*/ 3253209 w 5197475"/>
              <a:gd name="connsiteY1" fmla="*/ 0 h 3386033"/>
              <a:gd name="connsiteX2" fmla="*/ 3387610 w 5197475"/>
              <a:gd name="connsiteY2" fmla="*/ 3399 h 3386033"/>
              <a:gd name="connsiteX3" fmla="*/ 5034541 w 5197475"/>
              <a:gd name="connsiteY3" fmla="*/ 553240 h 3386033"/>
              <a:gd name="connsiteX4" fmla="*/ 5197475 w 5197475"/>
              <a:gd name="connsiteY4" fmla="*/ 675080 h 3386033"/>
              <a:gd name="connsiteX5" fmla="*/ 5197475 w 5197475"/>
              <a:gd name="connsiteY5" fmla="*/ 3386033 h 3386033"/>
              <a:gd name="connsiteX6" fmla="*/ 0 w 5197475"/>
              <a:gd name="connsiteY6" fmla="*/ 3386033 h 3386033"/>
              <a:gd name="connsiteX7" fmla="*/ 0 w 5197475"/>
              <a:gd name="connsiteY7" fmla="*/ 2865593 h 3386033"/>
              <a:gd name="connsiteX8" fmla="*/ 36404 w 5197475"/>
              <a:gd name="connsiteY8" fmla="*/ 2619328 h 3386033"/>
              <a:gd name="connsiteX9" fmla="*/ 3053714 w 5197475"/>
              <a:gd name="connsiteY9" fmla="*/ 3399 h 33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7475" h="3386033">
                <a:moveTo>
                  <a:pt x="3188114" y="0"/>
                </a:moveTo>
                <a:lnTo>
                  <a:pt x="3253209" y="0"/>
                </a:lnTo>
                <a:lnTo>
                  <a:pt x="3387610" y="3399"/>
                </a:lnTo>
                <a:cubicBezTo>
                  <a:pt x="3995857" y="34231"/>
                  <a:pt x="4559907" y="232584"/>
                  <a:pt x="5034541" y="553240"/>
                </a:cubicBezTo>
                <a:lnTo>
                  <a:pt x="5197475" y="675080"/>
                </a:lnTo>
                <a:lnTo>
                  <a:pt x="5197475" y="3386033"/>
                </a:lnTo>
                <a:lnTo>
                  <a:pt x="0" y="3386033"/>
                </a:lnTo>
                <a:lnTo>
                  <a:pt x="0" y="2865593"/>
                </a:lnTo>
                <a:lnTo>
                  <a:pt x="36404" y="2619328"/>
                </a:lnTo>
                <a:cubicBezTo>
                  <a:pt x="317029" y="1179156"/>
                  <a:pt x="1550375" y="79603"/>
                  <a:pt x="3053714" y="3399"/>
                </a:cubicBezTo>
                <a:close/>
              </a:path>
            </a:pathLst>
          </a:custGeom>
        </p:spPr>
        <p:txBody>
          <a:bodyPr wrap="square">
            <a:noAutofit/>
          </a:bodyPr>
          <a:lstStyle/>
          <a:p>
            <a:endParaRPr lang="en-GB"/>
          </a:p>
        </p:txBody>
      </p:sp>
      <p:sp>
        <p:nvSpPr>
          <p:cNvPr id="44" name="Text Placeholder 43">
            <a:extLst>
              <a:ext uri="{FF2B5EF4-FFF2-40B4-BE49-F238E27FC236}">
                <a16:creationId xmlns:a16="http://schemas.microsoft.com/office/drawing/2014/main" id="{94B04876-C693-81BF-B5B2-1FF3AD4BA7FC}"/>
              </a:ext>
            </a:extLst>
          </p:cNvPr>
          <p:cNvSpPr>
            <a:spLocks noGrp="1"/>
          </p:cNvSpPr>
          <p:nvPr>
            <p:ph type="body" sz="quarter" idx="17"/>
          </p:nvPr>
        </p:nvSpPr>
        <p:spPr>
          <a:xfrm>
            <a:off x="577850" y="1844675"/>
            <a:ext cx="4845050" cy="3957638"/>
          </a:xfrm>
        </p:spPr>
        <p:txBody>
          <a:bodyPr>
            <a:normAutofit/>
          </a:bodyPr>
          <a:lstStyle>
            <a:lvl1pPr>
              <a:defRPr sz="1800">
                <a:solidFill>
                  <a:schemeClr val="bg1"/>
                </a:solidFill>
              </a:defRPr>
            </a:lvl1pPr>
          </a:lstStyle>
          <a:p>
            <a:pPr lvl="0"/>
            <a:endParaRPr lang="en-GB"/>
          </a:p>
        </p:txBody>
      </p:sp>
      <p:sp>
        <p:nvSpPr>
          <p:cNvPr id="46" name="Slide Number Placeholder 4">
            <a:extLst>
              <a:ext uri="{FF2B5EF4-FFF2-40B4-BE49-F238E27FC236}">
                <a16:creationId xmlns:a16="http://schemas.microsoft.com/office/drawing/2014/main" id="{B6520E2B-9977-8A30-1490-92EAE1FD5B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295071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plit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776519" y="2176530"/>
            <a:ext cx="5089993" cy="3881690"/>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8268234" cy="533715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325487" y="1788057"/>
            <a:ext cx="6732136" cy="4139350"/>
          </a:xfrm>
        </p:spPr>
        <p:txBody>
          <a:bodyPr>
            <a:normAutofit/>
          </a:bodyPr>
          <a:lstStyle>
            <a:lvl1pPr marL="0" indent="0">
              <a:buNone/>
              <a:defRPr sz="1800">
                <a:solidFill>
                  <a:schemeClr val="tx1"/>
                </a:solidFill>
              </a:defRPr>
            </a:lvl1pPr>
          </a:lstStyle>
          <a:p>
            <a:pPr lvl="0"/>
            <a:endParaRPr lang="en-GB"/>
          </a:p>
        </p:txBody>
      </p:sp>
      <p:sp>
        <p:nvSpPr>
          <p:cNvPr id="30" name="Parallelogram 29">
            <a:extLst>
              <a:ext uri="{FF2B5EF4-FFF2-40B4-BE49-F238E27FC236}">
                <a16:creationId xmlns:a16="http://schemas.microsoft.com/office/drawing/2014/main" id="{F6B203A8-6C3A-CA79-0C18-4594A3D66AF0}"/>
              </a:ext>
            </a:extLst>
          </p:cNvPr>
          <p:cNvSpPr/>
          <p:nvPr userDrawn="1"/>
        </p:nvSpPr>
        <p:spPr>
          <a:xfrm>
            <a:off x="6776523" y="1880233"/>
            <a:ext cx="1494970" cy="4503761"/>
          </a:xfrm>
          <a:prstGeom prst="parallelogram">
            <a:avLst>
              <a:gd name="adj" fmla="val 797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8242480" y="2436937"/>
            <a:ext cx="3361386"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42635579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Title">
    <p:bg>
      <p:bgPr>
        <a:solidFill>
          <a:srgbClr val="1C1C1C"/>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758A5C61-AF1A-A88C-0FA6-430C5F938DE5}"/>
              </a:ext>
            </a:extLst>
          </p:cNvPr>
          <p:cNvSpPr/>
          <p:nvPr userDrawn="1"/>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endParaRPr lang="en-US"/>
          </a:p>
        </p:txBody>
      </p:sp>
      <p:sp>
        <p:nvSpPr>
          <p:cNvPr id="7" name="Freeform 12">
            <a:extLst>
              <a:ext uri="{FF2B5EF4-FFF2-40B4-BE49-F238E27FC236}">
                <a16:creationId xmlns:a16="http://schemas.microsoft.com/office/drawing/2014/main" id="{318B0DA7-5944-3226-AE4C-61D8DD3E50EB}"/>
              </a:ext>
            </a:extLst>
          </p:cNvPr>
          <p:cNvSpPr/>
          <p:nvPr userDrawn="1"/>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p>
        </p:txBody>
      </p:sp>
      <p:sp>
        <p:nvSpPr>
          <p:cNvPr id="9" name="AutoShape 5">
            <a:extLst>
              <a:ext uri="{FF2B5EF4-FFF2-40B4-BE49-F238E27FC236}">
                <a16:creationId xmlns:a16="http://schemas.microsoft.com/office/drawing/2014/main" id="{7CBB333F-7532-BC35-44A3-2A1609A2F01E}"/>
              </a:ext>
            </a:extLst>
          </p:cNvPr>
          <p:cNvSpPr/>
          <p:nvPr userDrawn="1"/>
        </p:nvSpPr>
        <p:spPr>
          <a:xfrm>
            <a:off x="427890" y="6149206"/>
            <a:ext cx="3383280" cy="65856"/>
          </a:xfrm>
          <a:prstGeom prst="rect">
            <a:avLst/>
          </a:prstGeom>
          <a:solidFill>
            <a:srgbClr val="CCB76A"/>
          </a:solidFill>
        </p:spPr>
      </p:sp>
      <p:sp>
        <p:nvSpPr>
          <p:cNvPr id="13" name="Picture Placeholder 12">
            <a:extLst>
              <a:ext uri="{FF2B5EF4-FFF2-40B4-BE49-F238E27FC236}">
                <a16:creationId xmlns:a16="http://schemas.microsoft.com/office/drawing/2014/main" id="{BBE811DD-52D9-A32C-04A9-F99613496B2A}"/>
              </a:ext>
            </a:extLst>
          </p:cNvPr>
          <p:cNvSpPr>
            <a:spLocks noGrp="1"/>
          </p:cNvSpPr>
          <p:nvPr>
            <p:ph type="pic" sz="quarter" idx="10"/>
          </p:nvPr>
        </p:nvSpPr>
        <p:spPr>
          <a:xfrm>
            <a:off x="7991339" y="334"/>
            <a:ext cx="3332162" cy="6075363"/>
          </a:xfrm>
        </p:spPr>
        <p:txBody>
          <a:bodyPr/>
          <a:lstStyle/>
          <a:p>
            <a:endParaRPr lang="en-GB"/>
          </a:p>
        </p:txBody>
      </p:sp>
      <p:sp>
        <p:nvSpPr>
          <p:cNvPr id="18" name="Picture Placeholder 17">
            <a:extLst>
              <a:ext uri="{FF2B5EF4-FFF2-40B4-BE49-F238E27FC236}">
                <a16:creationId xmlns:a16="http://schemas.microsoft.com/office/drawing/2014/main" id="{81879195-141F-68F9-EC98-6D63D9002AD1}"/>
              </a:ext>
            </a:extLst>
          </p:cNvPr>
          <p:cNvSpPr>
            <a:spLocks noGrp="1"/>
          </p:cNvSpPr>
          <p:nvPr>
            <p:ph type="pic" sz="quarter" idx="11"/>
          </p:nvPr>
        </p:nvSpPr>
        <p:spPr>
          <a:xfrm>
            <a:off x="7716766" y="1097361"/>
            <a:ext cx="3881308" cy="3881308"/>
          </a:xfrm>
          <a:custGeom>
            <a:avLst/>
            <a:gdLst>
              <a:gd name="connsiteX0" fmla="*/ 1724526 w 3449052"/>
              <a:gd name="connsiteY0" fmla="*/ 0 h 3449052"/>
              <a:gd name="connsiteX1" fmla="*/ 3449052 w 3449052"/>
              <a:gd name="connsiteY1" fmla="*/ 1724526 h 3449052"/>
              <a:gd name="connsiteX2" fmla="*/ 1724526 w 3449052"/>
              <a:gd name="connsiteY2" fmla="*/ 3449052 h 3449052"/>
              <a:gd name="connsiteX3" fmla="*/ 0 w 3449052"/>
              <a:gd name="connsiteY3" fmla="*/ 1724526 h 3449052"/>
              <a:gd name="connsiteX4" fmla="*/ 1724526 w 3449052"/>
              <a:gd name="connsiteY4" fmla="*/ 0 h 3449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9052" h="3449052">
                <a:moveTo>
                  <a:pt x="1724526" y="0"/>
                </a:moveTo>
                <a:cubicBezTo>
                  <a:pt x="2676955" y="0"/>
                  <a:pt x="3449052" y="772097"/>
                  <a:pt x="3449052" y="1724526"/>
                </a:cubicBezTo>
                <a:cubicBezTo>
                  <a:pt x="3449052" y="2676955"/>
                  <a:pt x="2676955" y="3449052"/>
                  <a:pt x="1724526" y="3449052"/>
                </a:cubicBezTo>
                <a:cubicBezTo>
                  <a:pt x="772097" y="3449052"/>
                  <a:pt x="0" y="2676955"/>
                  <a:pt x="0" y="1724526"/>
                </a:cubicBezTo>
                <a:cubicBezTo>
                  <a:pt x="0" y="772097"/>
                  <a:pt x="772097" y="0"/>
                  <a:pt x="1724526" y="0"/>
                </a:cubicBezTo>
                <a:close/>
              </a:path>
            </a:pathLst>
          </a:custGeom>
          <a:ln w="114300">
            <a:solidFill>
              <a:schemeClr val="bg1"/>
            </a:solidFill>
          </a:ln>
        </p:spPr>
        <p:txBody>
          <a:bodyPr wrap="square">
            <a:noAutofit/>
          </a:bodyPr>
          <a:lstStyle/>
          <a:p>
            <a:endParaRPr lang="en-GB"/>
          </a:p>
        </p:txBody>
      </p:sp>
      <p:sp>
        <p:nvSpPr>
          <p:cNvPr id="20" name="Text Placeholder 19">
            <a:extLst>
              <a:ext uri="{FF2B5EF4-FFF2-40B4-BE49-F238E27FC236}">
                <a16:creationId xmlns:a16="http://schemas.microsoft.com/office/drawing/2014/main" id="{E5125947-AF9E-3772-A654-9DD95C846FEF}"/>
              </a:ext>
            </a:extLst>
          </p:cNvPr>
          <p:cNvSpPr>
            <a:spLocks noGrp="1"/>
          </p:cNvSpPr>
          <p:nvPr>
            <p:ph type="body" sz="quarter" idx="12"/>
          </p:nvPr>
        </p:nvSpPr>
        <p:spPr>
          <a:xfrm>
            <a:off x="344632" y="5373688"/>
            <a:ext cx="6103937" cy="669925"/>
          </a:xfrm>
        </p:spPr>
        <p:txBody>
          <a:bodyPr anchor="ctr">
            <a:normAutofit/>
          </a:bodyPr>
          <a:lstStyle>
            <a:lvl1pPr marL="0" indent="0">
              <a:buNone/>
              <a:defRPr sz="4000" b="1">
                <a:solidFill>
                  <a:schemeClr val="bg1"/>
                </a:solidFill>
              </a:defRPr>
            </a:lvl1pPr>
          </a:lstStyle>
          <a:p>
            <a:pPr lvl="0"/>
            <a:endParaRPr lang="en-GB"/>
          </a:p>
        </p:txBody>
      </p:sp>
    </p:spTree>
    <p:extLst>
      <p:ext uri="{BB962C8B-B14F-4D97-AF65-F5344CB8AC3E}">
        <p14:creationId xmlns:p14="http://schemas.microsoft.com/office/powerpoint/2010/main" val="10510597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8457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ComparisonHeaderFooter">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15D5A57-6D14-1670-AB74-65DA777696AA}"/>
              </a:ext>
            </a:extLst>
          </p:cNvPr>
          <p:cNvSpPr/>
          <p:nvPr userDrawn="1"/>
        </p:nvSpPr>
        <p:spPr>
          <a:xfrm flipH="1" flipV="1">
            <a:off x="6310650" y="1994854"/>
            <a:ext cx="5293216" cy="4238942"/>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303919 w 8896440"/>
              <a:gd name="connsiteY2" fmla="*/ 3934052 h 3934052"/>
              <a:gd name="connsiteX3" fmla="*/ 0 w 8896440"/>
              <a:gd name="connsiteY3" fmla="*/ 3924560 h 3934052"/>
              <a:gd name="connsiteX4" fmla="*/ 12879 w 8896440"/>
              <a:gd name="connsiteY4" fmla="*/ 0 h 3934052"/>
              <a:gd name="connsiteX0" fmla="*/ 12879 w 8896440"/>
              <a:gd name="connsiteY0" fmla="*/ 0 h 3934052"/>
              <a:gd name="connsiteX1" fmla="*/ 8896440 w 8896440"/>
              <a:gd name="connsiteY1" fmla="*/ 0 h 3934052"/>
              <a:gd name="connsiteX2" fmla="*/ 722142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221428" y="3934052"/>
                </a:lnTo>
                <a:lnTo>
                  <a:pt x="0" y="3924560"/>
                </a:lnTo>
                <a:cubicBezTo>
                  <a:pt x="0" y="2613209"/>
                  <a:pt x="12879" y="1311351"/>
                  <a:pt x="1287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12879" y="1"/>
            <a:ext cx="12204879" cy="1507228"/>
          </a:xfrm>
        </p:spPr>
        <p:txBody>
          <a:bodyPr anchor="ctr">
            <a:normAutofit/>
          </a:bodyPr>
          <a:lstStyle>
            <a:lvl1pPr marL="0" indent="914400">
              <a:buNone/>
              <a:defRPr sz="4000" b="1">
                <a:solidFill>
                  <a:schemeClr val="bg1"/>
                </a:solidFill>
              </a:defRPr>
            </a:lvl1pPr>
          </a:lstStyle>
          <a:p>
            <a:pPr lvl="0"/>
            <a:endParaRPr lang="en-GB"/>
          </a:p>
        </p:txBody>
      </p:sp>
      <p:sp>
        <p:nvSpPr>
          <p:cNvPr id="23" name="Freeform: Shape 22">
            <a:extLst>
              <a:ext uri="{FF2B5EF4-FFF2-40B4-BE49-F238E27FC236}">
                <a16:creationId xmlns:a16="http://schemas.microsoft.com/office/drawing/2014/main" id="{33DB4A91-A29B-CAE8-7359-DD8CBF90D5D0}"/>
              </a:ext>
            </a:extLst>
          </p:cNvPr>
          <p:cNvSpPr/>
          <p:nvPr userDrawn="1"/>
        </p:nvSpPr>
        <p:spPr>
          <a:xfrm>
            <a:off x="-25755" y="1520847"/>
            <a:ext cx="6748526" cy="5350031"/>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 name="connsiteX0" fmla="*/ 12879 w 8896440"/>
              <a:gd name="connsiteY0" fmla="*/ 0 h 3943545"/>
              <a:gd name="connsiteX1" fmla="*/ 8896440 w 8896440"/>
              <a:gd name="connsiteY1" fmla="*/ 0 h 3943545"/>
              <a:gd name="connsiteX2" fmla="*/ 7249276 w 8896440"/>
              <a:gd name="connsiteY2" fmla="*/ 3943545 h 3943545"/>
              <a:gd name="connsiteX3" fmla="*/ 0 w 8896440"/>
              <a:gd name="connsiteY3" fmla="*/ 3924560 h 3943545"/>
              <a:gd name="connsiteX4" fmla="*/ 12879 w 8896440"/>
              <a:gd name="connsiteY4" fmla="*/ 0 h 3943545"/>
              <a:gd name="connsiteX0" fmla="*/ 12879 w 8982147"/>
              <a:gd name="connsiteY0" fmla="*/ 0 h 3943545"/>
              <a:gd name="connsiteX1" fmla="*/ 8982147 w 8982147"/>
              <a:gd name="connsiteY1" fmla="*/ 0 h 3943545"/>
              <a:gd name="connsiteX2" fmla="*/ 7249276 w 8982147"/>
              <a:gd name="connsiteY2" fmla="*/ 3943545 h 3943545"/>
              <a:gd name="connsiteX3" fmla="*/ 0 w 8982147"/>
              <a:gd name="connsiteY3" fmla="*/ 3924560 h 3943545"/>
              <a:gd name="connsiteX4" fmla="*/ 12879 w 8982147"/>
              <a:gd name="connsiteY4" fmla="*/ 0 h 394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147" h="3943545">
                <a:moveTo>
                  <a:pt x="12879" y="0"/>
                </a:moveTo>
                <a:lnTo>
                  <a:pt x="8982147" y="0"/>
                </a:lnTo>
                <a:lnTo>
                  <a:pt x="7249276" y="3943545"/>
                </a:lnTo>
                <a:lnTo>
                  <a:pt x="0" y="3924560"/>
                </a:lnTo>
                <a:cubicBezTo>
                  <a:pt x="0" y="2613209"/>
                  <a:pt x="12879" y="1311351"/>
                  <a:pt x="12879" y="0"/>
                </a:cubicBez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28">
            <a:extLst>
              <a:ext uri="{FF2B5EF4-FFF2-40B4-BE49-F238E27FC236}">
                <a16:creationId xmlns:a16="http://schemas.microsoft.com/office/drawing/2014/main" id="{E1372EFC-EBA6-2114-3C78-D85092FE4761}"/>
              </a:ext>
            </a:extLst>
          </p:cNvPr>
          <p:cNvSpPr>
            <a:spLocks noGrp="1"/>
          </p:cNvSpPr>
          <p:nvPr>
            <p:ph type="body" sz="quarter" idx="17"/>
          </p:nvPr>
        </p:nvSpPr>
        <p:spPr>
          <a:xfrm>
            <a:off x="7598534" y="2215896"/>
            <a:ext cx="3528811" cy="3375848"/>
          </a:xfrm>
        </p:spPr>
        <p:txBody>
          <a:bodyPr>
            <a:normAutofit/>
          </a:bodyPr>
          <a:lstStyle>
            <a:lvl1pPr marL="0" indent="0">
              <a:buNone/>
              <a:defRPr sz="1800">
                <a:solidFill>
                  <a:schemeClr val="bg1"/>
                </a:solidFill>
              </a:defRPr>
            </a:lvl1pPr>
          </a:lstStyle>
          <a:p>
            <a:pPr lvl="0"/>
            <a:endParaRPr lang="en-GB"/>
          </a:p>
        </p:txBody>
      </p:sp>
      <p:sp>
        <p:nvSpPr>
          <p:cNvPr id="7" name="Slide Number Placeholder 4">
            <a:extLst>
              <a:ext uri="{FF2B5EF4-FFF2-40B4-BE49-F238E27FC236}">
                <a16:creationId xmlns:a16="http://schemas.microsoft.com/office/drawing/2014/main" id="{BA309710-3110-B524-7B05-9C23E9175465}"/>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BD487921-C218-CEF8-C9C9-770D18917AA5}"/>
              </a:ext>
            </a:extLst>
          </p:cNvPr>
          <p:cNvSpPr/>
          <p:nvPr userDrawn="1"/>
        </p:nvSpPr>
        <p:spPr>
          <a:xfrm>
            <a:off x="540136" y="1941860"/>
            <a:ext cx="5341215" cy="3956664"/>
          </a:xfrm>
          <a:custGeom>
            <a:avLst/>
            <a:gdLst>
              <a:gd name="connsiteX0" fmla="*/ 0 w 6604000"/>
              <a:gd name="connsiteY0" fmla="*/ 0 h 3934052"/>
              <a:gd name="connsiteX1" fmla="*/ 6604000 w 6604000"/>
              <a:gd name="connsiteY1" fmla="*/ 0 h 3934052"/>
              <a:gd name="connsiteX2" fmla="*/ 5093968 w 6604000"/>
              <a:gd name="connsiteY2" fmla="*/ 3934052 h 3934052"/>
              <a:gd name="connsiteX3" fmla="*/ 0 w 6604000"/>
              <a:gd name="connsiteY3" fmla="*/ 3934052 h 3934052"/>
              <a:gd name="connsiteX0" fmla="*/ 0 w 8883561"/>
              <a:gd name="connsiteY0" fmla="*/ 0 h 3934052"/>
              <a:gd name="connsiteX1" fmla="*/ 8883561 w 8883561"/>
              <a:gd name="connsiteY1" fmla="*/ 0 h 3934052"/>
              <a:gd name="connsiteX2" fmla="*/ 7373529 w 8883561"/>
              <a:gd name="connsiteY2" fmla="*/ 3934052 h 3934052"/>
              <a:gd name="connsiteX3" fmla="*/ 2279561 w 8883561"/>
              <a:gd name="connsiteY3" fmla="*/ 3934052 h 3934052"/>
              <a:gd name="connsiteX4" fmla="*/ 0 w 8883561"/>
              <a:gd name="connsiteY4" fmla="*/ 0 h 3934052"/>
              <a:gd name="connsiteX0" fmla="*/ 25758 w 8909319"/>
              <a:gd name="connsiteY0" fmla="*/ 0 h 3962531"/>
              <a:gd name="connsiteX1" fmla="*/ 8909319 w 8909319"/>
              <a:gd name="connsiteY1" fmla="*/ 0 h 3962531"/>
              <a:gd name="connsiteX2" fmla="*/ 7399287 w 8909319"/>
              <a:gd name="connsiteY2" fmla="*/ 3934052 h 3962531"/>
              <a:gd name="connsiteX3" fmla="*/ 0 w 8909319"/>
              <a:gd name="connsiteY3" fmla="*/ 3962531 h 3962531"/>
              <a:gd name="connsiteX4" fmla="*/ 25758 w 8909319"/>
              <a:gd name="connsiteY4" fmla="*/ 0 h 3962531"/>
              <a:gd name="connsiteX0" fmla="*/ 12879 w 8896440"/>
              <a:gd name="connsiteY0" fmla="*/ 0 h 3962531"/>
              <a:gd name="connsiteX1" fmla="*/ 8896440 w 8896440"/>
              <a:gd name="connsiteY1" fmla="*/ 0 h 3962531"/>
              <a:gd name="connsiteX2" fmla="*/ 7386408 w 8896440"/>
              <a:gd name="connsiteY2" fmla="*/ 3934052 h 3962531"/>
              <a:gd name="connsiteX3" fmla="*/ 0 w 8896440"/>
              <a:gd name="connsiteY3" fmla="*/ 3962531 h 3962531"/>
              <a:gd name="connsiteX4" fmla="*/ 12879 w 8896440"/>
              <a:gd name="connsiteY4" fmla="*/ 0 h 3962531"/>
              <a:gd name="connsiteX0" fmla="*/ 12879 w 8896440"/>
              <a:gd name="connsiteY0" fmla="*/ 0 h 3953038"/>
              <a:gd name="connsiteX1" fmla="*/ 8896440 w 8896440"/>
              <a:gd name="connsiteY1" fmla="*/ 0 h 3953038"/>
              <a:gd name="connsiteX2" fmla="*/ 7386408 w 8896440"/>
              <a:gd name="connsiteY2" fmla="*/ 3934052 h 3953038"/>
              <a:gd name="connsiteX3" fmla="*/ 0 w 8896440"/>
              <a:gd name="connsiteY3" fmla="*/ 3953038 h 3953038"/>
              <a:gd name="connsiteX4" fmla="*/ 12879 w 8896440"/>
              <a:gd name="connsiteY4" fmla="*/ 0 h 3953038"/>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59 h 3934052"/>
              <a:gd name="connsiteX4" fmla="*/ 12879 w 8896440"/>
              <a:gd name="connsiteY4" fmla="*/ 0 h 3934052"/>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43546"/>
              <a:gd name="connsiteX1" fmla="*/ 8896440 w 8896440"/>
              <a:gd name="connsiteY1" fmla="*/ 0 h 3943546"/>
              <a:gd name="connsiteX2" fmla="*/ 7386408 w 8896440"/>
              <a:gd name="connsiteY2" fmla="*/ 3934052 h 3943546"/>
              <a:gd name="connsiteX3" fmla="*/ 0 w 8896440"/>
              <a:gd name="connsiteY3" fmla="*/ 3943546 h 3943546"/>
              <a:gd name="connsiteX4" fmla="*/ 12879 w 8896440"/>
              <a:gd name="connsiteY4" fmla="*/ 0 h 3943546"/>
              <a:gd name="connsiteX0" fmla="*/ 12879 w 8896440"/>
              <a:gd name="connsiteY0" fmla="*/ 0 h 3934052"/>
              <a:gd name="connsiteX1" fmla="*/ 8896440 w 8896440"/>
              <a:gd name="connsiteY1" fmla="*/ 0 h 3934052"/>
              <a:gd name="connsiteX2" fmla="*/ 7386408 w 8896440"/>
              <a:gd name="connsiteY2" fmla="*/ 3934052 h 3934052"/>
              <a:gd name="connsiteX3" fmla="*/ 0 w 8896440"/>
              <a:gd name="connsiteY3" fmla="*/ 3924560 h 3934052"/>
              <a:gd name="connsiteX4" fmla="*/ 12879 w 8896440"/>
              <a:gd name="connsiteY4" fmla="*/ 0 h 3934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440" h="3934052">
                <a:moveTo>
                  <a:pt x="12879" y="0"/>
                </a:moveTo>
                <a:lnTo>
                  <a:pt x="8896440" y="0"/>
                </a:lnTo>
                <a:lnTo>
                  <a:pt x="7386408" y="3934052"/>
                </a:lnTo>
                <a:lnTo>
                  <a:pt x="0" y="3924560"/>
                </a:lnTo>
                <a:cubicBezTo>
                  <a:pt x="0" y="2613209"/>
                  <a:pt x="12879" y="1311351"/>
                  <a:pt x="128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 Placeholder 28">
            <a:extLst>
              <a:ext uri="{FF2B5EF4-FFF2-40B4-BE49-F238E27FC236}">
                <a16:creationId xmlns:a16="http://schemas.microsoft.com/office/drawing/2014/main" id="{0421FB45-0AE5-59E5-BB48-796DFBCC3DFC}"/>
              </a:ext>
            </a:extLst>
          </p:cNvPr>
          <p:cNvSpPr>
            <a:spLocks noGrp="1"/>
          </p:cNvSpPr>
          <p:nvPr>
            <p:ph type="body" sz="quarter" idx="18"/>
          </p:nvPr>
        </p:nvSpPr>
        <p:spPr>
          <a:xfrm>
            <a:off x="841420" y="2215896"/>
            <a:ext cx="3820731" cy="3375848"/>
          </a:xfrm>
        </p:spPr>
        <p:txBody>
          <a:bodyPr>
            <a:normAutofit/>
          </a:bodyPr>
          <a:lstStyle>
            <a:lvl1pPr marL="0" indent="0">
              <a:buNone/>
              <a:defRPr sz="1800">
                <a:solidFill>
                  <a:schemeClr val="tx1"/>
                </a:solidFill>
              </a:defRPr>
            </a:lvl1pPr>
          </a:lstStyle>
          <a:p>
            <a:pPr lvl="0"/>
            <a:endParaRPr lang="en-GB"/>
          </a:p>
        </p:txBody>
      </p:sp>
    </p:spTree>
    <p:extLst>
      <p:ext uri="{BB962C8B-B14F-4D97-AF65-F5344CB8AC3E}">
        <p14:creationId xmlns:p14="http://schemas.microsoft.com/office/powerpoint/2010/main" val="1280407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AndContent">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E1F755B3-1942-BC6E-6D46-87D944C9A92E}"/>
              </a:ext>
            </a:extLst>
          </p:cNvPr>
          <p:cNvSpPr/>
          <p:nvPr userDrawn="1"/>
        </p:nvSpPr>
        <p:spPr>
          <a:xfrm>
            <a:off x="37240" y="1467853"/>
            <a:ext cx="4441370" cy="4836693"/>
          </a:xfrm>
          <a:custGeom>
            <a:avLst/>
            <a:gdLst>
              <a:gd name="connsiteX0" fmla="*/ 0 w 4922633"/>
              <a:gd name="connsiteY0" fmla="*/ 5189620 h 5189620"/>
              <a:gd name="connsiteX1" fmla="*/ 1230658 w 4922633"/>
              <a:gd name="connsiteY1" fmla="*/ 0 h 5189620"/>
              <a:gd name="connsiteX2" fmla="*/ 4922633 w 4922633"/>
              <a:gd name="connsiteY2" fmla="*/ 0 h 5189620"/>
              <a:gd name="connsiteX3" fmla="*/ 3691975 w 4922633"/>
              <a:gd name="connsiteY3" fmla="*/ 5189620 h 5189620"/>
              <a:gd name="connsiteX4" fmla="*/ 0 w 4922633"/>
              <a:gd name="connsiteY4" fmla="*/ 5189620 h 5189620"/>
              <a:gd name="connsiteX0" fmla="*/ 0 w 4441370"/>
              <a:gd name="connsiteY0" fmla="*/ 4836693 h 5189620"/>
              <a:gd name="connsiteX1" fmla="*/ 749395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08627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5189620"/>
              <a:gd name="connsiteX1" fmla="*/ 1166489 w 4441370"/>
              <a:gd name="connsiteY1" fmla="*/ 0 h 5189620"/>
              <a:gd name="connsiteX2" fmla="*/ 4441370 w 4441370"/>
              <a:gd name="connsiteY2" fmla="*/ 0 h 5189620"/>
              <a:gd name="connsiteX3" fmla="*/ 3210712 w 4441370"/>
              <a:gd name="connsiteY3" fmla="*/ 5189620 h 5189620"/>
              <a:gd name="connsiteX4" fmla="*/ 0 w 4441370"/>
              <a:gd name="connsiteY4" fmla="*/ 4836693 h 5189620"/>
              <a:gd name="connsiteX0" fmla="*/ 0 w 4441370"/>
              <a:gd name="connsiteY0" fmla="*/ 4836693 h 4836693"/>
              <a:gd name="connsiteX1" fmla="*/ 1166489 w 4441370"/>
              <a:gd name="connsiteY1" fmla="*/ 0 h 4836693"/>
              <a:gd name="connsiteX2" fmla="*/ 4441370 w 4441370"/>
              <a:gd name="connsiteY2" fmla="*/ 0 h 4836693"/>
              <a:gd name="connsiteX3" fmla="*/ 3274881 w 4441370"/>
              <a:gd name="connsiteY3" fmla="*/ 4820651 h 4836693"/>
              <a:gd name="connsiteX4" fmla="*/ 0 w 4441370"/>
              <a:gd name="connsiteY4" fmla="*/ 4836693 h 483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370" h="4836693">
                <a:moveTo>
                  <a:pt x="0" y="4836693"/>
                </a:moveTo>
                <a:lnTo>
                  <a:pt x="1166489" y="0"/>
                </a:lnTo>
                <a:lnTo>
                  <a:pt x="4441370" y="0"/>
                </a:lnTo>
                <a:lnTo>
                  <a:pt x="3274881" y="4820651"/>
                </a:lnTo>
                <a:lnTo>
                  <a:pt x="0" y="4836693"/>
                </a:lnTo>
                <a:close/>
              </a:path>
            </a:pathLst>
          </a:cu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18387" y="1467854"/>
            <a:ext cx="9754413" cy="5189620"/>
          </a:xfrm>
          <a:prstGeom prst="parallelogram">
            <a:avLst>
              <a:gd name="adj" fmla="val 27782"/>
            </a:avLst>
          </a:pr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8" name="Parallelogram 7">
            <a:extLst>
              <a:ext uri="{FF2B5EF4-FFF2-40B4-BE49-F238E27FC236}">
                <a16:creationId xmlns:a16="http://schemas.microsoft.com/office/drawing/2014/main" id="{D67E9A86-1406-C54C-FDED-D50F95DDCEAD}"/>
              </a:ext>
            </a:extLst>
          </p:cNvPr>
          <p:cNvSpPr/>
          <p:nvPr userDrawn="1"/>
        </p:nvSpPr>
        <p:spPr>
          <a:xfrm>
            <a:off x="1186303" y="3473325"/>
            <a:ext cx="1130969" cy="2482679"/>
          </a:xfrm>
          <a:prstGeom prst="parallelogram">
            <a:avLst>
              <a:gd name="adj" fmla="val 595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arallelogram 5">
            <a:extLst>
              <a:ext uri="{FF2B5EF4-FFF2-40B4-BE49-F238E27FC236}">
                <a16:creationId xmlns:a16="http://schemas.microsoft.com/office/drawing/2014/main" id="{97877D1B-7656-27AF-E8DA-1AEBFB4A1A10}"/>
              </a:ext>
            </a:extLst>
          </p:cNvPr>
          <p:cNvSpPr/>
          <p:nvPr userDrawn="1"/>
        </p:nvSpPr>
        <p:spPr>
          <a:xfrm>
            <a:off x="1242402" y="1679892"/>
            <a:ext cx="1130969" cy="2482679"/>
          </a:xfrm>
          <a:prstGeom prst="parallelogram">
            <a:avLst>
              <a:gd name="adj" fmla="val 6235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Slide Number Placeholder 4">
            <a:extLst>
              <a:ext uri="{FF2B5EF4-FFF2-40B4-BE49-F238E27FC236}">
                <a16:creationId xmlns:a16="http://schemas.microsoft.com/office/drawing/2014/main" id="{DAB8D671-2F91-063A-595C-0EF6E7F188B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023859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AndContent2">
    <p:spTree>
      <p:nvGrpSpPr>
        <p:cNvPr id="1" name=""/>
        <p:cNvGrpSpPr/>
        <p:nvPr/>
      </p:nvGrpSpPr>
      <p:grpSpPr>
        <a:xfrm>
          <a:off x="0" y="0"/>
          <a:ext cx="0" cy="0"/>
          <a:chOff x="0" y="0"/>
          <a:chExt cx="0" cy="0"/>
        </a:xfrm>
      </p:grpSpPr>
      <p:sp>
        <p:nvSpPr>
          <p:cNvPr id="12" name="Parallelogram 11">
            <a:extLst>
              <a:ext uri="{FF2B5EF4-FFF2-40B4-BE49-F238E27FC236}">
                <a16:creationId xmlns:a16="http://schemas.microsoft.com/office/drawing/2014/main" id="{9CBF8CD3-7D19-8EF0-5447-F25C70D675AD}"/>
              </a:ext>
            </a:extLst>
          </p:cNvPr>
          <p:cNvSpPr/>
          <p:nvPr userDrawn="1"/>
        </p:nvSpPr>
        <p:spPr>
          <a:xfrm>
            <a:off x="1275681"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Parallelogram 12">
            <a:extLst>
              <a:ext uri="{FF2B5EF4-FFF2-40B4-BE49-F238E27FC236}">
                <a16:creationId xmlns:a16="http://schemas.microsoft.com/office/drawing/2014/main" id="{94EB9FB0-5E4D-7BCE-E8DF-00D343D4EE97}"/>
              </a:ext>
            </a:extLst>
          </p:cNvPr>
          <p:cNvSpPr/>
          <p:nvPr userDrawn="1"/>
        </p:nvSpPr>
        <p:spPr>
          <a:xfrm>
            <a:off x="581003"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Parallelogram 1">
            <a:extLst>
              <a:ext uri="{FF2B5EF4-FFF2-40B4-BE49-F238E27FC236}">
                <a16:creationId xmlns:a16="http://schemas.microsoft.com/office/drawing/2014/main" id="{E0900AA8-BE37-6B81-8357-5616F7218262}"/>
              </a:ext>
            </a:extLst>
          </p:cNvPr>
          <p:cNvSpPr/>
          <p:nvPr userDrawn="1"/>
        </p:nvSpPr>
        <p:spPr>
          <a:xfrm>
            <a:off x="1266513" y="1467854"/>
            <a:ext cx="9706287" cy="5189620"/>
          </a:xfrm>
          <a:custGeom>
            <a:avLst/>
            <a:gdLst>
              <a:gd name="connsiteX0" fmla="*/ 0 w 9754413"/>
              <a:gd name="connsiteY0" fmla="*/ 5189620 h 5189620"/>
              <a:gd name="connsiteX1" fmla="*/ 1441780 w 9754413"/>
              <a:gd name="connsiteY1" fmla="*/ 0 h 5189620"/>
              <a:gd name="connsiteX2" fmla="*/ 9754413 w 9754413"/>
              <a:gd name="connsiteY2" fmla="*/ 0 h 5189620"/>
              <a:gd name="connsiteX3" fmla="*/ 8312633 w 9754413"/>
              <a:gd name="connsiteY3" fmla="*/ 5189620 h 5189620"/>
              <a:gd name="connsiteX4" fmla="*/ 0 w 9754413"/>
              <a:gd name="connsiteY4" fmla="*/ 5189620 h 5189620"/>
              <a:gd name="connsiteX0" fmla="*/ 0 w 9722329"/>
              <a:gd name="connsiteY0" fmla="*/ 5189620 h 5189620"/>
              <a:gd name="connsiteX1" fmla="*/ 1409696 w 9722329"/>
              <a:gd name="connsiteY1" fmla="*/ 0 h 5189620"/>
              <a:gd name="connsiteX2" fmla="*/ 9722329 w 9722329"/>
              <a:gd name="connsiteY2" fmla="*/ 0 h 5189620"/>
              <a:gd name="connsiteX3" fmla="*/ 8280549 w 9722329"/>
              <a:gd name="connsiteY3" fmla="*/ 5189620 h 5189620"/>
              <a:gd name="connsiteX4" fmla="*/ 0 w 9722329"/>
              <a:gd name="connsiteY4" fmla="*/ 5189620 h 5189620"/>
              <a:gd name="connsiteX0" fmla="*/ 0 w 9706287"/>
              <a:gd name="connsiteY0" fmla="*/ 5189620 h 5189620"/>
              <a:gd name="connsiteX1" fmla="*/ 1393654 w 9706287"/>
              <a:gd name="connsiteY1" fmla="*/ 0 h 5189620"/>
              <a:gd name="connsiteX2" fmla="*/ 9706287 w 9706287"/>
              <a:gd name="connsiteY2" fmla="*/ 0 h 5189620"/>
              <a:gd name="connsiteX3" fmla="*/ 8264507 w 9706287"/>
              <a:gd name="connsiteY3" fmla="*/ 5189620 h 5189620"/>
              <a:gd name="connsiteX4" fmla="*/ 0 w 9706287"/>
              <a:gd name="connsiteY4" fmla="*/ 5189620 h 518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6287" h="5189620">
                <a:moveTo>
                  <a:pt x="0" y="5189620"/>
                </a:moveTo>
                <a:lnTo>
                  <a:pt x="1393654" y="0"/>
                </a:lnTo>
                <a:lnTo>
                  <a:pt x="9706287" y="0"/>
                </a:lnTo>
                <a:lnTo>
                  <a:pt x="8264507" y="5189620"/>
                </a:lnTo>
                <a:lnTo>
                  <a:pt x="0" y="5189620"/>
                </a:lnTo>
                <a:close/>
              </a:path>
            </a:pathLst>
          </a:custGeom>
          <a:solidFill>
            <a:srgbClr val="1C1C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8">
            <a:extLst>
              <a:ext uri="{FF2B5EF4-FFF2-40B4-BE49-F238E27FC236}">
                <a16:creationId xmlns:a16="http://schemas.microsoft.com/office/drawing/2014/main" id="{CE4AE0AA-9E10-7DBE-5E19-AE3EA3E80465}"/>
              </a:ext>
            </a:extLst>
          </p:cNvPr>
          <p:cNvSpPr/>
          <p:nvPr userDrawn="1"/>
        </p:nvSpPr>
        <p:spPr>
          <a:xfrm>
            <a:off x="10513307" y="1511450"/>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arallelogram 9">
            <a:extLst>
              <a:ext uri="{FF2B5EF4-FFF2-40B4-BE49-F238E27FC236}">
                <a16:creationId xmlns:a16="http://schemas.microsoft.com/office/drawing/2014/main" id="{CC2A7249-3CA9-5A68-F6E7-4FBDADDEE5EE}"/>
              </a:ext>
            </a:extLst>
          </p:cNvPr>
          <p:cNvSpPr/>
          <p:nvPr userDrawn="1"/>
        </p:nvSpPr>
        <p:spPr>
          <a:xfrm>
            <a:off x="9818629" y="4125649"/>
            <a:ext cx="1130969" cy="2482679"/>
          </a:xfrm>
          <a:prstGeom prst="parallelogram">
            <a:avLst>
              <a:gd name="adj" fmla="val 581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11" name="Flowchart: Process 10">
            <a:extLst>
              <a:ext uri="{FF2B5EF4-FFF2-40B4-BE49-F238E27FC236}">
                <a16:creationId xmlns:a16="http://schemas.microsoft.com/office/drawing/2014/main" id="{0293AB07-D8C2-56A9-3C2D-69D3E5021FA0}"/>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14" name="Freeform: Shape 13">
            <a:extLst>
              <a:ext uri="{FF2B5EF4-FFF2-40B4-BE49-F238E27FC236}">
                <a16:creationId xmlns:a16="http://schemas.microsoft.com/office/drawing/2014/main" id="{8BDA8754-A350-E547-BE10-95829CDE23F4}"/>
              </a:ext>
            </a:extLst>
          </p:cNvPr>
          <p:cNvSpPr/>
          <p:nvPr userDrawn="1"/>
        </p:nvSpPr>
        <p:spPr>
          <a:xfrm>
            <a:off x="-38100" y="6209876"/>
            <a:ext cx="1222556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1929858 w 12023681"/>
              <a:gd name="connsiteY3" fmla="*/ 409433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1948622"/>
              <a:gd name="connsiteY0" fmla="*/ 0 h 743804"/>
              <a:gd name="connsiteX1" fmla="*/ 1419284 w 11948622"/>
              <a:gd name="connsiteY1" fmla="*/ 0 h 743804"/>
              <a:gd name="connsiteX2" fmla="*/ 1670750 w 11948622"/>
              <a:gd name="connsiteY2" fmla="*/ 409433 h 743804"/>
              <a:gd name="connsiteX3" fmla="*/ 11929858 w 11948622"/>
              <a:gd name="connsiteY3" fmla="*/ 409433 h 743804"/>
              <a:gd name="connsiteX4" fmla="*/ 11948622 w 11948622"/>
              <a:gd name="connsiteY4" fmla="*/ 743804 h 743804"/>
              <a:gd name="connsiteX5" fmla="*/ 2770499 w 11948622"/>
              <a:gd name="connsiteY5" fmla="*/ 743804 h 743804"/>
              <a:gd name="connsiteX6" fmla="*/ 2770499 w 11948622"/>
              <a:gd name="connsiteY6" fmla="*/ 743803 h 743804"/>
              <a:gd name="connsiteX7" fmla="*/ 0 w 11948622"/>
              <a:gd name="connsiteY7" fmla="*/ 743803 h 743804"/>
              <a:gd name="connsiteX8" fmla="*/ 0 w 11948622"/>
              <a:gd name="connsiteY8" fmla="*/ 0 h 743804"/>
              <a:gd name="connsiteX0" fmla="*/ 0 w 12004916"/>
              <a:gd name="connsiteY0" fmla="*/ 0 h 743804"/>
              <a:gd name="connsiteX1" fmla="*/ 1475578 w 12004916"/>
              <a:gd name="connsiteY1" fmla="*/ 0 h 743804"/>
              <a:gd name="connsiteX2" fmla="*/ 1727044 w 12004916"/>
              <a:gd name="connsiteY2" fmla="*/ 409433 h 743804"/>
              <a:gd name="connsiteX3" fmla="*/ 11986152 w 12004916"/>
              <a:gd name="connsiteY3" fmla="*/ 409433 h 743804"/>
              <a:gd name="connsiteX4" fmla="*/ 12004916 w 12004916"/>
              <a:gd name="connsiteY4" fmla="*/ 743804 h 743804"/>
              <a:gd name="connsiteX5" fmla="*/ 2826793 w 12004916"/>
              <a:gd name="connsiteY5" fmla="*/ 743804 h 743804"/>
              <a:gd name="connsiteX6" fmla="*/ 2826793 w 12004916"/>
              <a:gd name="connsiteY6" fmla="*/ 743803 h 743804"/>
              <a:gd name="connsiteX7" fmla="*/ 56294 w 12004916"/>
              <a:gd name="connsiteY7" fmla="*/ 743803 h 743804"/>
              <a:gd name="connsiteX8" fmla="*/ 0 w 12004916"/>
              <a:gd name="connsiteY8" fmla="*/ 0 h 743804"/>
              <a:gd name="connsiteX0" fmla="*/ 37529 w 12042445"/>
              <a:gd name="connsiteY0" fmla="*/ 0 h 743804"/>
              <a:gd name="connsiteX1" fmla="*/ 1513107 w 12042445"/>
              <a:gd name="connsiteY1" fmla="*/ 0 h 743804"/>
              <a:gd name="connsiteX2" fmla="*/ 1764573 w 12042445"/>
              <a:gd name="connsiteY2" fmla="*/ 409433 h 743804"/>
              <a:gd name="connsiteX3" fmla="*/ 12023681 w 12042445"/>
              <a:gd name="connsiteY3" fmla="*/ 409433 h 743804"/>
              <a:gd name="connsiteX4" fmla="*/ 12042445 w 12042445"/>
              <a:gd name="connsiteY4" fmla="*/ 743804 h 743804"/>
              <a:gd name="connsiteX5" fmla="*/ 2864322 w 12042445"/>
              <a:gd name="connsiteY5" fmla="*/ 743804 h 743804"/>
              <a:gd name="connsiteX6" fmla="*/ 2864322 w 12042445"/>
              <a:gd name="connsiteY6" fmla="*/ 743803 h 743804"/>
              <a:gd name="connsiteX7" fmla="*/ 0 w 12042445"/>
              <a:gd name="connsiteY7" fmla="*/ 743803 h 743804"/>
              <a:gd name="connsiteX8" fmla="*/ 37529 w 12042445"/>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2445" h="743804">
                <a:moveTo>
                  <a:pt x="37529" y="0"/>
                </a:moveTo>
                <a:lnTo>
                  <a:pt x="1513107" y="0"/>
                </a:lnTo>
                <a:lnTo>
                  <a:pt x="1764573" y="409433"/>
                </a:lnTo>
                <a:lnTo>
                  <a:pt x="12023681" y="409433"/>
                </a:lnTo>
                <a:lnTo>
                  <a:pt x="12042445" y="743804"/>
                </a:lnTo>
                <a:lnTo>
                  <a:pt x="2864322" y="743804"/>
                </a:lnTo>
                <a:lnTo>
                  <a:pt x="2864322" y="743803"/>
                </a:lnTo>
                <a:lnTo>
                  <a:pt x="0" y="743803"/>
                </a:lnTo>
                <a:lnTo>
                  <a:pt x="375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6" name="Slide Number Placeholder 4">
            <a:extLst>
              <a:ext uri="{FF2B5EF4-FFF2-40B4-BE49-F238E27FC236}">
                <a16:creationId xmlns:a16="http://schemas.microsoft.com/office/drawing/2014/main" id="{C8A761A3-B589-978D-6CFD-B3795669484F}"/>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3188849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Bg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83DE5B3-05A2-BA29-FE53-C33A3971C667}"/>
              </a:ext>
            </a:extLst>
          </p:cNvPr>
          <p:cNvSpPr>
            <a:spLocks noGrp="1"/>
          </p:cNvSpPr>
          <p:nvPr>
            <p:ph type="pic" sz="quarter" idx="17"/>
          </p:nvPr>
        </p:nvSpPr>
        <p:spPr>
          <a:xfrm>
            <a:off x="-14288" y="1516063"/>
            <a:ext cx="12206288" cy="2990850"/>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9" name="Text Placeholder 28">
            <a:extLst>
              <a:ext uri="{FF2B5EF4-FFF2-40B4-BE49-F238E27FC236}">
                <a16:creationId xmlns:a16="http://schemas.microsoft.com/office/drawing/2014/main" id="{15E4AF00-3E93-3452-056C-4F607490A7D7}"/>
              </a:ext>
            </a:extLst>
          </p:cNvPr>
          <p:cNvSpPr>
            <a:spLocks noGrp="1"/>
          </p:cNvSpPr>
          <p:nvPr userDrawn="1">
            <p:ph type="body" sz="quarter" idx="16"/>
          </p:nvPr>
        </p:nvSpPr>
        <p:spPr>
          <a:xfrm>
            <a:off x="241395" y="3689684"/>
            <a:ext cx="11581637" cy="2351212"/>
          </a:xfrm>
          <a:solidFill>
            <a:schemeClr val="bg1"/>
          </a:solidFill>
          <a:ln w="63500">
            <a:noFill/>
          </a:ln>
        </p:spPr>
        <p:txBody>
          <a:bodyPr>
            <a:normAutofit/>
          </a:bodyPr>
          <a:lstStyle>
            <a:lvl1pPr marL="0" indent="0">
              <a:buNone/>
              <a:defRPr sz="1800">
                <a:solidFill>
                  <a:schemeClr val="bg1"/>
                </a:solidFill>
              </a:defRPr>
            </a:lvl1pPr>
          </a:lstStyle>
          <a:p>
            <a:pPr lvl="0"/>
            <a:endParaRPr lang="en-GB"/>
          </a:p>
        </p:txBody>
      </p:sp>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93B38463-69CA-96B4-543B-12BB8FBB87FE}"/>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608011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Footer">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utoShape 3">
            <a:extLst>
              <a:ext uri="{FF2B5EF4-FFF2-40B4-BE49-F238E27FC236}">
                <a16:creationId xmlns:a16="http://schemas.microsoft.com/office/drawing/2014/main" id="{4043A132-5EF2-8E22-963E-41C4A3993B8F}"/>
              </a:ext>
            </a:extLst>
          </p:cNvPr>
          <p:cNvSpPr/>
          <p:nvPr userDrawn="1"/>
        </p:nvSpPr>
        <p:spPr>
          <a:xfrm>
            <a:off x="-14514" y="0"/>
            <a:ext cx="12206514" cy="1520849"/>
          </a:xfrm>
          <a:prstGeom prst="rect">
            <a:avLst/>
          </a:prstGeom>
          <a:solidFill>
            <a:schemeClr val="tx1"/>
          </a:solidFill>
        </p:spPr>
        <p:txBody>
          <a:bodyPr anchor="ctr"/>
          <a:lstStyle/>
          <a:p>
            <a:pPr indent="914400"/>
            <a:endParaRPr lang="en-GB" sz="4400" b="1">
              <a:solidFill>
                <a:schemeClr val="bg1"/>
              </a:solidFill>
            </a:endParaRPr>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4" name="Slide Number Placeholder 4">
            <a:extLst>
              <a:ext uri="{FF2B5EF4-FFF2-40B4-BE49-F238E27FC236}">
                <a16:creationId xmlns:a16="http://schemas.microsoft.com/office/drawing/2014/main" id="{FC7FEF98-26BB-5987-7AC6-3A6AAEFCDCF2}"/>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093280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gHeaderFoo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BE04087-67D2-B25C-BB02-231F6C77A604}"/>
              </a:ext>
            </a:extLst>
          </p:cNvPr>
          <p:cNvSpPr>
            <a:spLocks noGrp="1"/>
          </p:cNvSpPr>
          <p:nvPr>
            <p:ph type="pic" sz="quarter" idx="15"/>
          </p:nvPr>
        </p:nvSpPr>
        <p:spPr>
          <a:xfrm>
            <a:off x="-14288" y="-1"/>
            <a:ext cx="12206288" cy="1419727"/>
          </a:xfrm>
        </p:spPr>
        <p:txBody>
          <a:bodyPr/>
          <a:lstStyle/>
          <a:p>
            <a:endParaRPr lang="en-GB"/>
          </a:p>
        </p:txBody>
      </p:sp>
      <p:sp>
        <p:nvSpPr>
          <p:cNvPr id="12" name="Flowchart: Process 11">
            <a:extLst>
              <a:ext uri="{FF2B5EF4-FFF2-40B4-BE49-F238E27FC236}">
                <a16:creationId xmlns:a16="http://schemas.microsoft.com/office/drawing/2014/main" id="{F577BD6E-4A29-E79C-7EA3-DA0D7423DB9A}"/>
              </a:ext>
            </a:extLst>
          </p:cNvPr>
          <p:cNvSpPr/>
          <p:nvPr userDrawn="1"/>
        </p:nvSpPr>
        <p:spPr>
          <a:xfrm>
            <a:off x="-14514" y="6286791"/>
            <a:ext cx="12206514" cy="414260"/>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13">
            <a:extLst>
              <a:ext uri="{FF2B5EF4-FFF2-40B4-BE49-F238E27FC236}">
                <a16:creationId xmlns:a16="http://schemas.microsoft.com/office/drawing/2014/main" id="{F33FA8A3-C28C-4C9B-DA0D-F23A622311D6}"/>
              </a:ext>
            </a:extLst>
          </p:cNvPr>
          <p:cNvSpPr>
            <a:spLocks noGrp="1"/>
          </p:cNvSpPr>
          <p:nvPr>
            <p:ph type="body" sz="quarter" idx="14"/>
          </p:nvPr>
        </p:nvSpPr>
        <p:spPr>
          <a:xfrm>
            <a:off x="0" y="48127"/>
            <a:ext cx="9187543" cy="1419727"/>
          </a:xfrm>
        </p:spPr>
        <p:txBody>
          <a:bodyPr anchor="ctr">
            <a:normAutofit/>
          </a:bodyPr>
          <a:lstStyle>
            <a:lvl1pPr marL="0" indent="914400">
              <a:buNone/>
              <a:defRPr sz="4000" b="1">
                <a:solidFill>
                  <a:schemeClr val="bg1"/>
                </a:solidFill>
              </a:defRPr>
            </a:lvl1pPr>
          </a:lstStyle>
          <a:p>
            <a:pPr lvl="0"/>
            <a:endParaRPr lang="en-GB"/>
          </a:p>
        </p:txBody>
      </p:sp>
      <p:sp>
        <p:nvSpPr>
          <p:cNvPr id="3" name="Freeform: Shape 2">
            <a:extLst>
              <a:ext uri="{FF2B5EF4-FFF2-40B4-BE49-F238E27FC236}">
                <a16:creationId xmlns:a16="http://schemas.microsoft.com/office/drawing/2014/main" id="{E132B7B6-ED37-111F-DEC9-5B0361DBB8EC}"/>
              </a:ext>
            </a:extLst>
          </p:cNvPr>
          <p:cNvSpPr/>
          <p:nvPr userDrawn="1"/>
        </p:nvSpPr>
        <p:spPr>
          <a:xfrm>
            <a:off x="-14514" y="6286791"/>
            <a:ext cx="1220651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5" name="Picture 4" descr="Logo&#10;&#10;Description automatically generated">
            <a:extLst>
              <a:ext uri="{FF2B5EF4-FFF2-40B4-BE49-F238E27FC236}">
                <a16:creationId xmlns:a16="http://schemas.microsoft.com/office/drawing/2014/main" id="{6F2B16A0-27BC-48DA-F568-00C0C59B6D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Flowchart: Process 12">
            <a:extLst>
              <a:ext uri="{FF2B5EF4-FFF2-40B4-BE49-F238E27FC236}">
                <a16:creationId xmlns:a16="http://schemas.microsoft.com/office/drawing/2014/main" id="{36A306C5-775D-2BFF-E30C-189B7CE461C4}"/>
              </a:ext>
            </a:extLst>
          </p:cNvPr>
          <p:cNvSpPr/>
          <p:nvPr userDrawn="1"/>
        </p:nvSpPr>
        <p:spPr>
          <a:xfrm>
            <a:off x="-14514" y="1467854"/>
            <a:ext cx="12206514" cy="95537"/>
          </a:xfrm>
          <a:prstGeom prst="flowChartProcess">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a:noFill/>
              </a:ln>
            </a:endParaRPr>
          </a:p>
        </p:txBody>
      </p:sp>
      <p:sp>
        <p:nvSpPr>
          <p:cNvPr id="7" name="Slide Number Placeholder 4">
            <a:extLst>
              <a:ext uri="{FF2B5EF4-FFF2-40B4-BE49-F238E27FC236}">
                <a16:creationId xmlns:a16="http://schemas.microsoft.com/office/drawing/2014/main" id="{DFC8DEC4-5C56-CD9B-8A81-F4AF48DE7154}"/>
              </a:ext>
            </a:extLst>
          </p:cNvPr>
          <p:cNvSpPr txBox="1">
            <a:spLocks/>
          </p:cNvSpPr>
          <p:nvPr userDrawn="1"/>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430BDA-5D68-46EF-B338-4033C63DE6D6}" type="slidenum">
              <a:rPr lang="en-GB" smtClean="0">
                <a:solidFill>
                  <a:schemeClr val="bg1"/>
                </a:solidFill>
              </a:rPr>
              <a:pPr/>
              <a:t>‹#›</a:t>
            </a:fld>
            <a:endParaRPr lang="en-GB">
              <a:solidFill>
                <a:schemeClr val="bg1"/>
              </a:solidFill>
            </a:endParaRPr>
          </a:p>
        </p:txBody>
      </p:sp>
    </p:spTree>
    <p:extLst>
      <p:ext uri="{BB962C8B-B14F-4D97-AF65-F5344CB8AC3E}">
        <p14:creationId xmlns:p14="http://schemas.microsoft.com/office/powerpoint/2010/main" val="17762621"/>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6.xml"/><Relationship Id="rId10" Type="http://schemas.openxmlformats.org/officeDocument/2006/relationships/slideLayout" Target="../slideLayouts/slideLayout25.xml"/><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theme" Target="../theme/theme2.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slideLayout" Target="../slideLayouts/slideLayout38.xml"/><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slideLayout" Target="../slideLayouts/slideLayout41.xml"/><Relationship Id="rId14" Type="http://schemas.openxmlformats.org/officeDocument/2006/relationships/slideLayout" Target="../slideLayouts/slideLayout42.xml"/><Relationship Id="rId15" Type="http://schemas.openxmlformats.org/officeDocument/2006/relationships/theme" Target="../theme/theme3.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3934031200"/>
      </p:ext>
    </p:extLst>
  </p:cSld>
  <p:clrMap bg1="lt1" tx1="dk1" bg2="lt2" tx2="dk2" accent1="accent1" accent2="accent2" accent3="accent3" accent4="accent4" accent5="accent5" accent6="accent6" hlink="hlink" folHlink="folHlink"/>
  <p:sldLayoutIdLst>
    <p:sldLayoutId id="2147483658" r:id="rId1"/>
    <p:sldLayoutId id="2147483665" r:id="rId2"/>
    <p:sldLayoutId id="2147483657" r:id="rId3"/>
    <p:sldLayoutId id="2147483663" r:id="rId4"/>
    <p:sldLayoutId id="2147483662" r:id="rId5"/>
    <p:sldLayoutId id="2147483667" r:id="rId6"/>
    <p:sldLayoutId id="2147483661" r:id="rId7"/>
    <p:sldLayoutId id="2147483664" r:id="rId8"/>
    <p:sldLayoutId id="2147483668" r:id="rId9"/>
    <p:sldLayoutId id="2147483656" r:id="rId10"/>
    <p:sldLayoutId id="2147483666" r:id="rId11"/>
    <p:sldLayoutId id="2147483659" r:id="rId12"/>
    <p:sldLayoutId id="2147483655" r:id="rId13"/>
    <p:sldLayoutId id="2147483697" r:id="rId14"/>
    <p:sldLayoutId id="21474837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234066480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697449-3326-2C9C-C7ED-8BC500425D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B8FF4F0-36C6-6FB9-0F55-5D00FF748A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207F18F-E190-1440-F2F1-B7421E1B73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BC9DB0B-36AB-CDC9-F177-943779DEC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CA15B0B-26C9-57D4-6B6C-289D28AF5C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30BDA-5D68-46EF-B338-4033C63DE6D6}" type="slidenum">
              <a:rPr lang="en-GB" smtClean="0"/>
              <a:t>‹#›</a:t>
            </a:fld>
            <a:endParaRPr lang="en-GB"/>
          </a:p>
        </p:txBody>
      </p:sp>
    </p:spTree>
    <p:extLst>
      <p:ext uri="{BB962C8B-B14F-4D97-AF65-F5344CB8AC3E}">
        <p14:creationId xmlns:p14="http://schemas.microsoft.com/office/powerpoint/2010/main" val="4825870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jpeg"/><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4.xml"/><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19.jpeg"/><Relationship Id="rId11" Type="http://schemas.openxmlformats.org/officeDocument/2006/relationships/image" Target="../media/image20.png"/><Relationship Id="rId12" Type="http://schemas.openxmlformats.org/officeDocument/2006/relationships/image" Target="../media/image21.png"/><Relationship Id="rId13" Type="http://schemas.openxmlformats.org/officeDocument/2006/relationships/image" Target="../media/image22.png"/><Relationship Id="rId14" Type="http://schemas.openxmlformats.org/officeDocument/2006/relationships/image" Target="../media/image23.png"/><Relationship Id="rId15" Type="http://schemas.microsoft.com/office/2007/relationships/hdphoto" Target="../media/hdphoto5.wdp"/><Relationship Id="rId16" Type="http://schemas.openxmlformats.org/officeDocument/2006/relationships/image" Target="../media/image24.png"/><Relationship Id="rId17" Type="http://schemas.openxmlformats.org/officeDocument/2006/relationships/image" Target="../media/image25.png"/><Relationship Id="rId18" Type="http://schemas.openxmlformats.org/officeDocument/2006/relationships/image" Target="../media/image26.png"/><Relationship Id="rId19" Type="http://schemas.openxmlformats.org/officeDocument/2006/relationships/image" Target="../media/image27.jpeg"/><Relationship Id="rId2" Type="http://schemas.openxmlformats.org/officeDocument/2006/relationships/image" Target="../media/image13.png"/><Relationship Id="rId20" Type="http://schemas.openxmlformats.org/officeDocument/2006/relationships/image" Target="../media/image28.jpeg"/><Relationship Id="rId21" Type="http://schemas.openxmlformats.org/officeDocument/2006/relationships/image" Target="../media/image29.png"/><Relationship Id="rId22" Type="http://schemas.microsoft.com/office/2007/relationships/hdphoto" Target="../media/hdphoto6.wdp"/><Relationship Id="rId23" Type="http://schemas.openxmlformats.org/officeDocument/2006/relationships/image" Target="../media/image30.png"/><Relationship Id="rId24" Type="http://schemas.microsoft.com/office/2007/relationships/hdphoto" Target="../media/hdphoto7.wdp"/><Relationship Id="rId3" Type="http://schemas.microsoft.com/office/2007/relationships/hdphoto" Target="../media/hdphoto3.wdp"/><Relationship Id="rId4" Type="http://schemas.openxmlformats.org/officeDocument/2006/relationships/image" Target="../media/image14.png"/><Relationship Id="rId5" Type="http://schemas.microsoft.com/office/2007/relationships/hdphoto" Target="../media/hdphoto4.wdp"/><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3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6.xml"/><Relationship Id="rId3" Type="http://schemas.openxmlformats.org/officeDocument/2006/relationships/image" Target="../media/image32.png"/><Relationship Id="rId4" Type="http://schemas.microsoft.com/office/2007/relationships/hdphoto" Target="../media/hdphoto8.wdp"/><Relationship Id="rId5" Type="http://schemas.openxmlformats.org/officeDocument/2006/relationships/image" Target="../media/image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0.wdp"/><Relationship Id="rId11" Type="http://schemas.openxmlformats.org/officeDocument/2006/relationships/image" Target="../media/image40.png"/><Relationship Id="rId12" Type="http://schemas.openxmlformats.org/officeDocument/2006/relationships/image" Target="../media/image41.png"/><Relationship Id="rId13" Type="http://schemas.microsoft.com/office/2007/relationships/hdphoto" Target="../media/hdphoto11.wdp"/><Relationship Id="rId14" Type="http://schemas.openxmlformats.org/officeDocument/2006/relationships/image" Target="../media/image42.png"/><Relationship Id="rId15" Type="http://schemas.openxmlformats.org/officeDocument/2006/relationships/image" Target="../media/image43.png"/><Relationship Id="rId16" Type="http://schemas.openxmlformats.org/officeDocument/2006/relationships/image" Target="../media/image44.png"/><Relationship Id="rId17" Type="http://schemas.microsoft.com/office/2007/relationships/hdphoto" Target="../media/hdphoto12.wdp"/><Relationship Id="rId18" Type="http://schemas.openxmlformats.org/officeDocument/2006/relationships/image" Target="../media/image45.png"/><Relationship Id="rId19" Type="http://schemas.openxmlformats.org/officeDocument/2006/relationships/image" Target="../media/image46.png"/><Relationship Id="rId2" Type="http://schemas.openxmlformats.org/officeDocument/2006/relationships/image" Target="../media/image33.png"/><Relationship Id="rId20" Type="http://schemas.openxmlformats.org/officeDocument/2006/relationships/image" Target="../media/image47.png"/><Relationship Id="rId21" Type="http://schemas.openxmlformats.org/officeDocument/2006/relationships/image" Target="../media/image48.png"/><Relationship Id="rId22" Type="http://schemas.microsoft.com/office/2007/relationships/hdphoto" Target="../media/hdphoto13.wdp"/><Relationship Id="rId3" Type="http://schemas.openxmlformats.org/officeDocument/2006/relationships/image" Target="../media/image34.png"/><Relationship Id="rId4" Type="http://schemas.microsoft.com/office/2007/relationships/hdphoto" Target="../media/hdphoto9.wdp"/><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microsoft.com/office/2007/relationships/hdphoto" Target="../media/hdphoto16.wdp"/><Relationship Id="rId11" Type="http://schemas.openxmlformats.org/officeDocument/2006/relationships/image" Target="../media/image54.png"/><Relationship Id="rId12" Type="http://schemas.microsoft.com/office/2007/relationships/hdphoto" Target="../media/hdphoto17.wdp"/><Relationship Id="rId13" Type="http://schemas.openxmlformats.org/officeDocument/2006/relationships/image" Target="../media/image55.png"/><Relationship Id="rId14" Type="http://schemas.microsoft.com/office/2007/relationships/hdphoto" Target="../media/hdphoto18.wdp"/><Relationship Id="rId15" Type="http://schemas.openxmlformats.org/officeDocument/2006/relationships/image" Target="../media/image56.png"/><Relationship Id="rId16" Type="http://schemas.microsoft.com/office/2007/relationships/hdphoto" Target="../media/hdphoto19.wdp"/><Relationship Id="rId2" Type="http://schemas.openxmlformats.org/officeDocument/2006/relationships/image" Target="../media/image49.png"/><Relationship Id="rId3" Type="http://schemas.openxmlformats.org/officeDocument/2006/relationships/image" Target="../media/image50.png"/><Relationship Id="rId4" Type="http://schemas.microsoft.com/office/2007/relationships/hdphoto" Target="../media/hdphoto14.wdp"/><Relationship Id="rId5" Type="http://schemas.openxmlformats.org/officeDocument/2006/relationships/image" Target="../media/image40.png"/><Relationship Id="rId6" Type="http://schemas.openxmlformats.org/officeDocument/2006/relationships/image" Target="../media/image51.png"/><Relationship Id="rId7" Type="http://schemas.openxmlformats.org/officeDocument/2006/relationships/image" Target="../media/image52.png"/><Relationship Id="rId8" Type="http://schemas.microsoft.com/office/2007/relationships/hdphoto" Target="../media/hdphoto15.wdp"/><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64.png"/><Relationship Id="rId11" Type="http://schemas.microsoft.com/office/2007/relationships/hdphoto" Target="../media/hdphoto20.wdp"/><Relationship Id="rId12" Type="http://schemas.openxmlformats.org/officeDocument/2006/relationships/image" Target="../media/image65.png"/><Relationship Id="rId13" Type="http://schemas.microsoft.com/office/2007/relationships/hdphoto" Target="../media/hdphoto21.wdp"/><Relationship Id="rId14" Type="http://schemas.openxmlformats.org/officeDocument/2006/relationships/image" Target="../media/image66.png"/><Relationship Id="rId15" Type="http://schemas.microsoft.com/office/2007/relationships/hdphoto" Target="../media/hdphoto22.wdp"/><Relationship Id="rId16" Type="http://schemas.openxmlformats.org/officeDocument/2006/relationships/image" Target="../media/image67.png"/><Relationship Id="rId17" Type="http://schemas.openxmlformats.org/officeDocument/2006/relationships/image" Target="../media/image68.png"/><Relationship Id="rId18" Type="http://schemas.microsoft.com/office/2007/relationships/hdphoto" Target="../media/hdphoto23.wdp"/><Relationship Id="rId19" Type="http://schemas.openxmlformats.org/officeDocument/2006/relationships/image" Target="../media/image69.png"/><Relationship Id="rId2" Type="http://schemas.openxmlformats.org/officeDocument/2006/relationships/image" Target="../media/image57.png"/><Relationship Id="rId20" Type="http://schemas.microsoft.com/office/2007/relationships/hdphoto" Target="../media/hdphoto24.wdp"/><Relationship Id="rId21" Type="http://schemas.openxmlformats.org/officeDocument/2006/relationships/image" Target="../media/image70.png"/><Relationship Id="rId22" Type="http://schemas.microsoft.com/office/2007/relationships/hdphoto" Target="../media/hdphoto25.wdp"/><Relationship Id="rId23" Type="http://schemas.openxmlformats.org/officeDocument/2006/relationships/image" Target="../media/image71.png"/><Relationship Id="rId24" Type="http://schemas.microsoft.com/office/2007/relationships/hdphoto" Target="../media/hdphoto26.wdp"/><Relationship Id="rId25" Type="http://schemas.openxmlformats.org/officeDocument/2006/relationships/image" Target="../media/image72.png"/><Relationship Id="rId26" Type="http://schemas.microsoft.com/office/2007/relationships/hdphoto" Target="../media/hdphoto27.wdp"/><Relationship Id="rId27" Type="http://schemas.openxmlformats.org/officeDocument/2006/relationships/image" Target="../media/image73.png"/><Relationship Id="rId28" Type="http://schemas.openxmlformats.org/officeDocument/2006/relationships/image" Target="../media/image74.png"/><Relationship Id="rId29" Type="http://schemas.openxmlformats.org/officeDocument/2006/relationships/image" Target="../media/image75.png"/><Relationship Id="rId3" Type="http://schemas.openxmlformats.org/officeDocument/2006/relationships/image" Target="../media/image40.png"/><Relationship Id="rId30" Type="http://schemas.microsoft.com/office/2007/relationships/hdphoto" Target="../media/hdphoto28.wdp"/><Relationship Id="rId31" Type="http://schemas.openxmlformats.org/officeDocument/2006/relationships/image" Target="../media/image76.png"/><Relationship Id="rId32" Type="http://schemas.openxmlformats.org/officeDocument/2006/relationships/image" Target="../media/image77.svg"/><Relationship Id="rId33" Type="http://schemas.openxmlformats.org/officeDocument/2006/relationships/image" Target="../media/image78.png"/><Relationship Id="rId34" Type="http://schemas.microsoft.com/office/2007/relationships/hdphoto" Target="../media/hdphoto29.wdp"/><Relationship Id="rId35" Type="http://schemas.openxmlformats.org/officeDocument/2006/relationships/image" Target="../media/image79.png"/><Relationship Id="rId36" Type="http://schemas.microsoft.com/office/2007/relationships/hdphoto" Target="../media/hdphoto30.wdp"/><Relationship Id="rId37" Type="http://schemas.openxmlformats.org/officeDocument/2006/relationships/image" Target="../media/image80.png"/><Relationship Id="rId38" Type="http://schemas.openxmlformats.org/officeDocument/2006/relationships/image" Target="../media/image81.png"/><Relationship Id="rId39" Type="http://schemas.microsoft.com/office/2007/relationships/hdphoto" Target="../media/hdphoto31.wdp"/><Relationship Id="rId4" Type="http://schemas.openxmlformats.org/officeDocument/2006/relationships/image" Target="../media/image58.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microsoft.com/office/2007/relationships/hdphoto" Target="../media/hdphoto32.wdp"/><Relationship Id="rId45" Type="http://schemas.openxmlformats.org/officeDocument/2006/relationships/image" Target="../media/image86.png"/><Relationship Id="rId46" Type="http://schemas.microsoft.com/office/2007/relationships/hdphoto" Target="../media/hdphoto33.wdp"/><Relationship Id="rId47" Type="http://schemas.openxmlformats.org/officeDocument/2006/relationships/image" Target="../media/image87.png"/><Relationship Id="rId48" Type="http://schemas.openxmlformats.org/officeDocument/2006/relationships/image" Target="../media/image88.png"/><Relationship Id="rId49" Type="http://schemas.microsoft.com/office/2007/relationships/hdphoto" Target="../media/hdphoto34.wdp"/><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8" Type="http://schemas.openxmlformats.org/officeDocument/2006/relationships/image" Target="../media/image62.emf"/><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93.png"/><Relationship Id="rId11" Type="http://schemas.openxmlformats.org/officeDocument/2006/relationships/image" Target="../media/image94.png"/><Relationship Id="rId12" Type="http://schemas.microsoft.com/office/2007/relationships/hdphoto" Target="../media/hdphoto38.wdp"/><Relationship Id="rId13" Type="http://schemas.openxmlformats.org/officeDocument/2006/relationships/image" Target="../media/image95.png"/><Relationship Id="rId14" Type="http://schemas.microsoft.com/office/2007/relationships/hdphoto" Target="../media/hdphoto39.wdp"/><Relationship Id="rId15" Type="http://schemas.openxmlformats.org/officeDocument/2006/relationships/image" Target="../media/image96.png"/><Relationship Id="rId16" Type="http://schemas.microsoft.com/office/2007/relationships/hdphoto" Target="../media/hdphoto40.wdp"/><Relationship Id="rId17" Type="http://schemas.openxmlformats.org/officeDocument/2006/relationships/image" Target="../media/image97.png"/><Relationship Id="rId18" Type="http://schemas.microsoft.com/office/2007/relationships/hdphoto" Target="../media/hdphoto41.wdp"/><Relationship Id="rId19" Type="http://schemas.openxmlformats.org/officeDocument/2006/relationships/image" Target="../media/image98.png"/><Relationship Id="rId2" Type="http://schemas.openxmlformats.org/officeDocument/2006/relationships/image" Target="../media/image89.png"/><Relationship Id="rId20" Type="http://schemas.microsoft.com/office/2007/relationships/hdphoto" Target="../media/hdphoto42.wdp"/><Relationship Id="rId21" Type="http://schemas.openxmlformats.org/officeDocument/2006/relationships/image" Target="../media/image99.png"/><Relationship Id="rId22" Type="http://schemas.openxmlformats.org/officeDocument/2006/relationships/image" Target="../media/image100.png"/><Relationship Id="rId23" Type="http://schemas.openxmlformats.org/officeDocument/2006/relationships/image" Target="../media/image101.png"/><Relationship Id="rId24" Type="http://schemas.microsoft.com/office/2007/relationships/hdphoto" Target="../media/hdphoto43.wdp"/><Relationship Id="rId25" Type="http://schemas.openxmlformats.org/officeDocument/2006/relationships/image" Target="../media/image102.png"/><Relationship Id="rId26" Type="http://schemas.microsoft.com/office/2007/relationships/hdphoto" Target="../media/hdphoto44.wdp"/><Relationship Id="rId3" Type="http://schemas.microsoft.com/office/2007/relationships/hdphoto" Target="../media/hdphoto35.wdp"/><Relationship Id="rId4" Type="http://schemas.openxmlformats.org/officeDocument/2006/relationships/image" Target="../media/image40.png"/><Relationship Id="rId5" Type="http://schemas.openxmlformats.org/officeDocument/2006/relationships/image" Target="../media/image90.png"/><Relationship Id="rId6" Type="http://schemas.microsoft.com/office/2007/relationships/hdphoto" Target="../media/hdphoto36.wdp"/><Relationship Id="rId7" Type="http://schemas.openxmlformats.org/officeDocument/2006/relationships/image" Target="../media/image91.png"/><Relationship Id="rId8" Type="http://schemas.openxmlformats.org/officeDocument/2006/relationships/image" Target="../media/image92.png"/><Relationship Id="rId9" Type="http://schemas.microsoft.com/office/2007/relationships/hdphoto" Target="../media/hdphoto37.wd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7.xml"/><Relationship Id="rId3" Type="http://schemas.openxmlformats.org/officeDocument/2006/relationships/image" Target="../media/image103.jpeg"/><Relationship Id="rId4" Type="http://schemas.openxmlformats.org/officeDocument/2006/relationships/image" Target="../media/image104.jpeg"/></Relationships>
</file>

<file path=ppt/slides/_rels/slide19.xml.rels><?xml version='1.0' encoding='UTF-8' standalone='yes'?>
<Relationships xmlns="http://schemas.openxmlformats.org/package/2006/relationships"><Relationship Id="rId1" Type="http://schemas.openxmlformats.org/officeDocument/2006/relationships/tags" Target="../tags/tag1.xml"/><Relationship Id="rId10" Type="http://schemas.openxmlformats.org/officeDocument/2006/relationships/image" Target="../media/image108.svg"/><Relationship Id="rId11" Type="http://schemas.openxmlformats.org/officeDocument/2006/relationships/image" Target="../media/image109.png"/><Relationship Id="rId12" Type="http://schemas.openxmlformats.org/officeDocument/2006/relationships/image" Target="../media/image110.svg"/><Relationship Id="rId13" Type="http://schemas.openxmlformats.org/officeDocument/2006/relationships/image" Target="../media/image111.png"/><Relationship Id="rId14" Type="http://schemas.openxmlformats.org/officeDocument/2006/relationships/image" Target="../media/image112.svg"/><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29.xml"/><Relationship Id="rId7" Type="http://schemas.openxmlformats.org/officeDocument/2006/relationships/image" Target="../media/image105.png"/><Relationship Id="rId8" Type="http://schemas.openxmlformats.org/officeDocument/2006/relationships/image" Target="../media/image106.svg"/><Relationship Id="rId9" Type="http://schemas.openxmlformats.org/officeDocument/2006/relationships/image" Target="../media/image10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13.jpeg"/><Relationship Id="rId3" Type="http://schemas.openxmlformats.org/officeDocument/2006/relationships/image" Target="../media/image114.png"/><Relationship Id="rId4" Type="http://schemas.microsoft.com/office/2007/relationships/hdphoto" Target="../media/hdphoto45.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1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116.png"/><Relationship Id="rId3" Type="http://schemas.openxmlformats.org/officeDocument/2006/relationships/image" Target="../media/image1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1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8.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9.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2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5.png"/><Relationship Id="rId2" Type="http://schemas.openxmlformats.org/officeDocument/2006/relationships/notesSlide" Target="../notesSlides/notesSlide10.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1.png"/><Relationship Id="rId7" Type="http://schemas.openxmlformats.org/officeDocument/2006/relationships/image" Target="../media/image122.png"/><Relationship Id="rId8" Type="http://schemas.openxmlformats.org/officeDocument/2006/relationships/image" Target="../media/image123.png"/><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1.xml"/><Relationship Id="rId2" Type="http://schemas.openxmlformats.org/officeDocument/2006/relationships/notesSlide" Target="../notesSlides/notesSlide11.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1.xml"/><Relationship Id="rId7" Type="http://schemas.openxmlformats.org/officeDocument/2006/relationships/diagramLayout" Target="../diagrams/layout1.xml"/><Relationship Id="rId8" Type="http://schemas.openxmlformats.org/officeDocument/2006/relationships/diagramQuickStyle" Target="../diagrams/quickStyle1.xml"/><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2.xml"/><Relationship Id="rId2" Type="http://schemas.openxmlformats.org/officeDocument/2006/relationships/notesSlide" Target="../notesSlides/notesSlide12.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png"/><Relationship Id="rId3"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3.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image" Target="../media/image1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microsoft.com/office/2007/relationships/diagramDrawing" Target="../diagrams/drawing3.xml"/><Relationship Id="rId2" Type="http://schemas.openxmlformats.org/officeDocument/2006/relationships/notesSlide" Target="../notesSlides/notesSlide14.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 Id="rId6" Type="http://schemas.openxmlformats.org/officeDocument/2006/relationships/diagramData" Target="../diagrams/data3.xml"/><Relationship Id="rId7" Type="http://schemas.openxmlformats.org/officeDocument/2006/relationships/diagramLayout" Target="../diagrams/layout3.xml"/><Relationship Id="rId8" Type="http://schemas.openxmlformats.org/officeDocument/2006/relationships/diagramQuickStyle" Target="../diagrams/quickStyle3.xml"/><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5.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27.jpeg"/><Relationship Id="rId11" Type="http://schemas.openxmlformats.org/officeDocument/2006/relationships/image" Target="../media/image128.jpeg"/><Relationship Id="rId12" Type="http://schemas.openxmlformats.org/officeDocument/2006/relationships/image" Target="../media/image129.jpeg"/><Relationship Id="rId2" Type="http://schemas.openxmlformats.org/officeDocument/2006/relationships/notesSlide" Target="../notesSlides/notesSlide16.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diagramData" Target="../diagrams/data4.xml"/><Relationship Id="rId6" Type="http://schemas.openxmlformats.org/officeDocument/2006/relationships/diagramLayout" Target="../diagrams/layout4.xml"/><Relationship Id="rId7" Type="http://schemas.openxmlformats.org/officeDocument/2006/relationships/diagramQuickStyle" Target="../diagrams/quickStyle4.xml"/><Relationship Id="rId8" Type="http://schemas.openxmlformats.org/officeDocument/2006/relationships/diagramColors" Target="../diagrams/colors4.xml"/><Relationship Id="rId9" Type="http://schemas.microsoft.com/office/2007/relationships/diagramDrawing" Target="../diagrams/drawing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7.xml"/><Relationship Id="rId3" Type="http://schemas.openxmlformats.org/officeDocument/2006/relationships/image" Target="../media/image119.png"/><Relationship Id="rId4" Type="http://schemas.microsoft.com/office/2007/relationships/hdphoto" Target="../media/hdphoto46.wdp"/><Relationship Id="rId5" Type="http://schemas.openxmlformats.org/officeDocument/2006/relationships/image" Target="../media/image13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8.xml"/><Relationship Id="rId3" Type="http://schemas.openxmlformats.org/officeDocument/2006/relationships/image" Target="../media/image119.png"/><Relationship Id="rId4" Type="http://schemas.microsoft.com/office/2007/relationships/hdphoto" Target="../media/hdphoto46.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31.jpeg"/><Relationship Id="rId3" Type="http://schemas.openxmlformats.org/officeDocument/2006/relationships/image" Target="../media/image132.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13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4.jpeg"/><Relationship Id="rId3" Type="http://schemas.openxmlformats.org/officeDocument/2006/relationships/image" Target="../media/image135.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3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45.svg"/><Relationship Id="rId11" Type="http://schemas.openxmlformats.org/officeDocument/2006/relationships/image" Target="../media/image146.png"/><Relationship Id="rId12" Type="http://schemas.openxmlformats.org/officeDocument/2006/relationships/image" Target="../media/image147.svg"/><Relationship Id="rId2" Type="http://schemas.openxmlformats.org/officeDocument/2006/relationships/notesSlide" Target="../notesSlides/notesSlide20.xml"/><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svg"/><Relationship Id="rId6" Type="http://schemas.openxmlformats.org/officeDocument/2006/relationships/image" Target="../media/image141.png"/><Relationship Id="rId7" Type="http://schemas.openxmlformats.org/officeDocument/2006/relationships/image" Target="../media/image142.svg"/><Relationship Id="rId8" Type="http://schemas.openxmlformats.org/officeDocument/2006/relationships/image" Target="../media/image143.png"/><Relationship Id="rId9" Type="http://schemas.openxmlformats.org/officeDocument/2006/relationships/image" Target="../media/image14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148.jpeg"/><Relationship Id="rId3" Type="http://schemas.openxmlformats.org/officeDocument/2006/relationships/image" Target="../media/image14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50.png"/><Relationship Id="rId4" Type="http://schemas.openxmlformats.org/officeDocument/2006/relationships/image" Target="../media/image151.png"/><Relationship Id="rId5" Type="http://schemas.openxmlformats.org/officeDocument/2006/relationships/image" Target="../media/image152.png"/><Relationship Id="rId6" Type="http://schemas.openxmlformats.org/officeDocument/2006/relationships/image" Target="../media/image153.png"/><Relationship Id="rId7" Type="http://schemas.openxmlformats.org/officeDocument/2006/relationships/image" Target="../media/image154.png"/></Relationships>
</file>

<file path=ppt/slides/_rels/slide4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Layout" Target="../slideLayouts/slideLayout1.xml"/><Relationship Id="rId3" Type="http://schemas.openxmlformats.org/officeDocument/2006/relationships/notesSlide" Target="../notesSlides/notesSlide22.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png"/><Relationship Id="rId13" Type="http://schemas.openxmlformats.org/officeDocument/2006/relationships/image" Target="../media/image165.png"/><Relationship Id="rId14" Type="http://schemas.openxmlformats.org/officeDocument/2006/relationships/image" Target="../media/image166.png"/><Relationship Id="rId15" Type="http://schemas.openxmlformats.org/officeDocument/2006/relationships/image" Target="../media/image167.png"/><Relationship Id="rId16" Type="http://schemas.openxmlformats.org/officeDocument/2006/relationships/image" Target="../media/image168.png"/><Relationship Id="rId17" Type="http://schemas.openxmlformats.org/officeDocument/2006/relationships/image" Target="../media/image169.png"/><Relationship Id="rId18" Type="http://schemas.openxmlformats.org/officeDocument/2006/relationships/image" Target="../media/image170.png"/><Relationship Id="rId19" Type="http://schemas.openxmlformats.org/officeDocument/2006/relationships/image" Target="../media/image171.jpeg"/><Relationship Id="rId2" Type="http://schemas.openxmlformats.org/officeDocument/2006/relationships/notesSlide" Target="../notesSlides/notesSlide23.xml"/><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80.png"/><Relationship Id="rId29" Type="http://schemas.openxmlformats.org/officeDocument/2006/relationships/image" Target="../media/image181.png"/><Relationship Id="rId3" Type="http://schemas.openxmlformats.org/officeDocument/2006/relationships/image" Target="../media/image103.jpeg"/><Relationship Id="rId4" Type="http://schemas.openxmlformats.org/officeDocument/2006/relationships/image" Target="../media/image156.png"/><Relationship Id="rId5" Type="http://schemas.openxmlformats.org/officeDocument/2006/relationships/image" Target="../media/image157.png"/><Relationship Id="rId6" Type="http://schemas.openxmlformats.org/officeDocument/2006/relationships/image" Target="../media/image158.png"/><Relationship Id="rId7" Type="http://schemas.openxmlformats.org/officeDocument/2006/relationships/image" Target="../media/image159.png"/><Relationship Id="rId8" Type="http://schemas.openxmlformats.org/officeDocument/2006/relationships/image" Target="../media/image160.png"/><Relationship Id="rId9" Type="http://schemas.openxmlformats.org/officeDocument/2006/relationships/image" Target="../media/image161.png"/></Relationships>
</file>

<file path=ppt/slides/_rels/slide47.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slideLayout" Target="../slideLayouts/slideLayout12.xml"/><Relationship Id="rId3" Type="http://schemas.openxmlformats.org/officeDocument/2006/relationships/image" Target="../media/image182.png"/><Relationship Id="rId4" Type="http://schemas.microsoft.com/office/2007/relationships/hdphoto" Target="../media/hdphoto47.wdp"/><Relationship Id="rId5" Type="http://schemas.openxmlformats.org/officeDocument/2006/relationships/image" Target="../media/image183.png"/></Relationships>
</file>

<file path=ppt/slides/_rels/slide48.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slideLayout" Target="../slideLayouts/slideLayout1.xml"/><Relationship Id="rId3" Type="http://schemas.openxmlformats.org/officeDocument/2006/relationships/notesSlide" Target="../notesSlides/notesSlide24.xml"/><Relationship Id="rId4" Type="http://schemas.openxmlformats.org/officeDocument/2006/relationships/image" Target="../media/image184.jpeg"/><Relationship Id="rId5" Type="http://schemas.openxmlformats.org/officeDocument/2006/relationships/image" Target="../media/image185.png"/><Relationship Id="rId6" Type="http://schemas.openxmlformats.org/officeDocument/2006/relationships/image" Target="../media/image18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18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 Id="rId3" Type="http://schemas.openxmlformats.org/officeDocument/2006/relationships/image" Target="../media/image9.svg"/><Relationship Id="rId4" Type="http://schemas.openxmlformats.org/officeDocument/2006/relationships/image" Target="../media/image10.png"/><Relationship Id="rId5" Type="http://schemas.openxmlformats.org/officeDocument/2006/relationships/image" Target="../media/image11.png"/><Relationship Id="rId6" Type="http://schemas.microsoft.com/office/2007/relationships/hdphoto" Target="../media/hdphoto2.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1.xml"/><Relationship Id="rId3"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xml"/><Relationship Id="rId3"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CB76A"/>
        </a:solidFill>
        <a:effectLst/>
      </p:bgPr>
    </p:bg>
    <p:spTree>
      <p:nvGrpSpPr>
        <p:cNvPr id="1" name=""/>
        <p:cNvGrpSpPr/>
        <p:nvPr/>
      </p:nvGrpSpPr>
      <p:grpSpPr>
        <a:xfrm>
          <a:off x="0" y="0"/>
          <a:ext cx="0" cy="0"/>
          <a:chOff x="0" y="0"/>
          <a:chExt cx="0" cy="0"/>
        </a:xfrm>
      </p:grpSpPr>
      <p:pic>
        <p:nvPicPr>
          <p:cNvPr id="2" name="Picture 1" descr="A picture containing dark, tower&#10;&#10;Description automatically generated">
            <a:extLst>
              <a:ext uri="{FF2B5EF4-FFF2-40B4-BE49-F238E27FC236}">
                <a16:creationId xmlns:a16="http://schemas.microsoft.com/office/drawing/2014/main" id="{46D4BD9D-06DA-CEAD-6CAF-1665F3746A01}"/>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299416"/>
            <a:ext cx="12192000" cy="6259168"/>
          </a:xfrm>
          <a:prstGeom prst="rect">
            <a:avLst/>
          </a:prstGeom>
        </p:spPr>
      </p:pic>
      <p:sp>
        <p:nvSpPr>
          <p:cNvPr id="6" name="Rectangle 5">
            <a:extLst>
              <a:ext uri="{FF2B5EF4-FFF2-40B4-BE49-F238E27FC236}">
                <a16:creationId xmlns:a16="http://schemas.microsoft.com/office/drawing/2014/main" id="{FCE6D3E6-4500-A3DD-F41E-7B7E95A16F19}"/>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AF1E099E-21DB-1658-EAFA-48B3AD41EE41}"/>
              </a:ext>
            </a:extLst>
          </p:cNvPr>
          <p:cNvSpPr/>
          <p:nvPr/>
        </p:nvSpPr>
        <p:spPr>
          <a:xfrm>
            <a:off x="5982387" y="3255875"/>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221CE14-90C6-B649-E734-9FD8BD1EABBC}"/>
              </a:ext>
            </a:extLst>
          </p:cNvPr>
          <p:cNvSpPr/>
          <p:nvPr/>
        </p:nvSpPr>
        <p:spPr>
          <a:xfrm>
            <a:off x="3957333" y="4366632"/>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1" name="AutoShape 3">
            <a:extLst>
              <a:ext uri="{FF2B5EF4-FFF2-40B4-BE49-F238E27FC236}">
                <a16:creationId xmlns:a16="http://schemas.microsoft.com/office/drawing/2014/main" id="{6F68C771-E95B-DA44-242F-4C1C373D8EAE}"/>
              </a:ext>
            </a:extLst>
          </p:cNvPr>
          <p:cNvSpPr/>
          <p:nvPr/>
        </p:nvSpPr>
        <p:spPr>
          <a:xfrm>
            <a:off x="2375544" y="1247274"/>
            <a:ext cx="7440912" cy="4363452"/>
          </a:xfrm>
          <a:prstGeom prst="rect">
            <a:avLst/>
          </a:prstGeom>
          <a:solidFill>
            <a:schemeClr val="tx1">
              <a:alpha val="8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AutoShape 6">
            <a:extLst>
              <a:ext uri="{FF2B5EF4-FFF2-40B4-BE49-F238E27FC236}">
                <a16:creationId xmlns:a16="http://schemas.microsoft.com/office/drawing/2014/main" id="{7F1C737A-CBB3-8B88-6C67-E77C7CFD0EF5}"/>
              </a:ext>
            </a:extLst>
          </p:cNvPr>
          <p:cNvSpPr/>
          <p:nvPr/>
        </p:nvSpPr>
        <p:spPr>
          <a:xfrm>
            <a:off x="3444240" y="3156366"/>
            <a:ext cx="5303520" cy="64008"/>
          </a:xfrm>
          <a:prstGeom prst="rect">
            <a:avLst/>
          </a:prstGeom>
          <a:solidFill>
            <a:srgbClr val="CCB76A"/>
          </a:solidFill>
        </p:spPr>
        <p:txBody>
          <a:bodyPr/>
          <a:lstStyle/>
          <a:p>
            <a:endParaRPr lang="en-US"/>
          </a:p>
        </p:txBody>
      </p:sp>
      <p:sp>
        <p:nvSpPr>
          <p:cNvPr id="15" name="TextBox 7">
            <a:extLst>
              <a:ext uri="{FF2B5EF4-FFF2-40B4-BE49-F238E27FC236}">
                <a16:creationId xmlns:a16="http://schemas.microsoft.com/office/drawing/2014/main" id="{9C65CEDA-8167-4265-D93A-E9558806C102}"/>
              </a:ext>
            </a:extLst>
          </p:cNvPr>
          <p:cNvSpPr txBox="1"/>
          <p:nvPr/>
        </p:nvSpPr>
        <p:spPr>
          <a:xfrm>
            <a:off x="2889504" y="3338199"/>
            <a:ext cx="6205728" cy="1292662"/>
          </a:xfrm>
          <a:prstGeom prst="rect">
            <a:avLst/>
          </a:prstGeom>
        </p:spPr>
        <p:txBody>
          <a:bodyPr wrap="square" lIns="0" tIns="0" rIns="0" bIns="0" rtlCol="0" anchor="t">
            <a:spAutoFit/>
          </a:bodyPr>
          <a:lstStyle/>
          <a:p>
            <a:pPr algn="ctr" defTabSz="857250">
              <a:defRPr/>
            </a:pPr>
            <a:r>
              <a:rPr lang="en-US" sz="2800" b="1" spc="-43" dirty="0">
                <a:solidFill>
                  <a:schemeClr val="bg1"/>
                </a:solidFill>
                <a:latin typeface="Calibri"/>
                <a:ea typeface="Calibri"/>
                <a:cs typeface="Calibri"/>
              </a:rPr>
              <a:t>PROPOSAL</a:t>
            </a:r>
            <a:br>
              <a:rPr lang="en-US" sz="2800" b="1" spc="-43" dirty="0">
                <a:latin typeface="Calibri"/>
                <a:ea typeface="Calibri"/>
                <a:cs typeface="Calibri"/>
              </a:rPr>
            </a:br>
            <a:r>
              <a:rPr lang="en-US" sz="2800" b="1" spc="-43" dirty="0">
                <a:solidFill>
                  <a:prstClr val="white"/>
                </a:solidFill>
                <a:latin typeface="Calibri"/>
                <a:ea typeface="Calibri"/>
                <a:cs typeface="Calibri"/>
              </a:rPr>
              <a:t>Vulnerability Assessment and Penetration Testing (VAPT) </a:t>
            </a:r>
            <a:endParaRPr lang="en-US" sz="2800" b="1" i="0" u="none" strike="noStrike" kern="1200" cap="none" spc="-43" normalizeH="0" baseline="0" noProof="0" dirty="0">
              <a:ln>
                <a:noFill/>
              </a:ln>
              <a:solidFill>
                <a:prstClr val="white"/>
              </a:solidFill>
              <a:effectLst/>
              <a:uLnTx/>
              <a:uFillTx/>
              <a:latin typeface="Calibri" panose="020F0502020204030204" pitchFamily="34" charset="0"/>
              <a:ea typeface="Calibri"/>
              <a:cs typeface="Calibri" panose="020F0502020204030204" pitchFamily="34" charset="0"/>
            </a:endParaRPr>
          </a:p>
        </p:txBody>
      </p:sp>
      <p:sp>
        <p:nvSpPr>
          <p:cNvPr id="16" name="Rectangle 15">
            <a:extLst>
              <a:ext uri="{FF2B5EF4-FFF2-40B4-BE49-F238E27FC236}">
                <a16:creationId xmlns:a16="http://schemas.microsoft.com/office/drawing/2014/main" id="{07BC8330-05FB-276F-35E3-174D9C87576C}"/>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D85D664D-2FBE-1248-A262-C092152A4744}"/>
              </a:ext>
            </a:extLst>
          </p:cNvPr>
          <p:cNvSpPr/>
          <p:nvPr/>
        </p:nvSpPr>
        <p:spPr>
          <a:xfrm>
            <a:off x="5982387" y="3063371"/>
            <a:ext cx="239168" cy="352084"/>
          </a:xfrm>
          <a:prstGeom prst="rect">
            <a:avLst/>
          </a:prstGeom>
        </p:spPr>
        <p:txBody>
          <a:bodyPr wrap="non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836957-7F07-B7F4-B375-8B1884509394}"/>
              </a:ext>
            </a:extLst>
          </p:cNvPr>
          <p:cNvSpPr/>
          <p:nvPr/>
        </p:nvSpPr>
        <p:spPr>
          <a:xfrm>
            <a:off x="3957333" y="4174128"/>
            <a:ext cx="3071965" cy="352084"/>
          </a:xfrm>
          <a:prstGeom prst="rect">
            <a:avLst/>
          </a:prstGeom>
        </p:spPr>
        <p:txBody>
          <a:bodyPr wrap="square">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AU" sz="1688" b="0" i="0" u="none" strike="noStrike" kern="1200" cap="none" spc="0" normalizeH="0" baseline="0" noProof="0">
                <a:ln>
                  <a:noFill/>
                </a:ln>
                <a:solidFill>
                  <a:srgbClr val="000000"/>
                </a:solidFill>
                <a:effectLst/>
                <a:uLnTx/>
                <a:uFillTx/>
                <a:latin typeface="Times" pitchFamily="2" charset="0"/>
                <a:ea typeface="+mn-ea"/>
                <a:cs typeface="+mn-cs"/>
              </a:rPr>
              <a:t> </a:t>
            </a:r>
            <a:endParaRPr kumimoji="0" lang="en-US" sz="1688" b="0" i="0" u="none" strike="noStrike" kern="1200" cap="none" spc="0" normalizeH="0" baseline="0" noProof="0">
              <a:ln>
                <a:noFill/>
              </a:ln>
              <a:solidFill>
                <a:prstClr val="black"/>
              </a:solidFill>
              <a:effectLst/>
              <a:uLnTx/>
              <a:uFillTx/>
              <a:latin typeface="Calibri"/>
              <a:ea typeface="+mn-ea"/>
              <a:cs typeface="+mn-cs"/>
            </a:endParaRPr>
          </a:p>
        </p:txBody>
      </p:sp>
      <p:pic>
        <p:nvPicPr>
          <p:cNvPr id="20" name="Picture 19" descr="Logo&#10;&#10;Description automatically generated">
            <a:extLst>
              <a:ext uri="{FF2B5EF4-FFF2-40B4-BE49-F238E27FC236}">
                <a16:creationId xmlns:a16="http://schemas.microsoft.com/office/drawing/2014/main" id="{65E52013-03F9-ACF7-8E20-E5C5DC9378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6522" y="2262593"/>
            <a:ext cx="1407152" cy="701269"/>
          </a:xfrm>
          <a:prstGeom prst="rect">
            <a:avLst/>
          </a:prstGeom>
        </p:spPr>
      </p:pic>
      <p:sp>
        <p:nvSpPr>
          <p:cNvPr id="9" name="Freeform 11">
            <a:extLst>
              <a:ext uri="{FF2B5EF4-FFF2-40B4-BE49-F238E27FC236}">
                <a16:creationId xmlns:a16="http://schemas.microsoft.com/office/drawing/2014/main" id="{28BDE1CB-6A11-BB41-D3CE-72C508879B79}"/>
              </a:ext>
            </a:extLst>
          </p:cNvPr>
          <p:cNvSpPr/>
          <p:nvPr/>
        </p:nvSpPr>
        <p:spPr>
          <a:xfrm rot="10800000">
            <a:off x="9438323" y="524242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12">
            <a:extLst>
              <a:ext uri="{FF2B5EF4-FFF2-40B4-BE49-F238E27FC236}">
                <a16:creationId xmlns:a16="http://schemas.microsoft.com/office/drawing/2014/main" id="{C774A93E-B491-B2E5-F0A3-9E9F2F09DF19}"/>
              </a:ext>
            </a:extLst>
          </p:cNvPr>
          <p:cNvSpPr/>
          <p:nvPr/>
        </p:nvSpPr>
        <p:spPr>
          <a:xfrm>
            <a:off x="2247208" y="112198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Box 24">
            <a:extLst>
              <a:ext uri="{FF2B5EF4-FFF2-40B4-BE49-F238E27FC236}">
                <a16:creationId xmlns:a16="http://schemas.microsoft.com/office/drawing/2014/main" id="{B76AB2C9-E38D-E1C1-9650-DBB604118E0B}"/>
              </a:ext>
            </a:extLst>
          </p:cNvPr>
          <p:cNvSpPr txBox="1"/>
          <p:nvPr/>
        </p:nvSpPr>
        <p:spPr>
          <a:xfrm>
            <a:off x="4990118" y="5928428"/>
            <a:ext cx="2003947" cy="461665"/>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Date of Submission:</a:t>
            </a:r>
            <a:r>
              <a:rPr kumimoji="0" lang="en-US" sz="1200" b="1" i="0" u="none" strike="noStrike" kern="1200" cap="none" spc="0" normalizeH="0" baseline="0" noProof="0" dirty="0">
                <a:ln>
                  <a:noFill/>
                </a:ln>
                <a:solidFill>
                  <a:srgbClr val="FFFF00"/>
                </a:solidFill>
                <a:effectLst/>
                <a:uLnTx/>
                <a:uFillTx/>
                <a:latin typeface="Calibri"/>
                <a:ea typeface="+mn-ea"/>
                <a:cs typeface="+mn-cs"/>
              </a:rPr>
              <a:t> </a:t>
            </a:r>
            <a:r>
              <a:rPr lang="en-US" sz="1200" b="1" dirty="0">
                <a:solidFill>
                  <a:srgbClr val="CCB76A"/>
                </a:solidFill>
                <a:latin typeface="Calibri"/>
              </a:rPr>
              <a:t>2023-1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B76A"/>
                </a:solidFill>
                <a:effectLst/>
                <a:uLnTx/>
                <a:uFillTx/>
                <a:latin typeface="Calibri"/>
                <a:ea typeface="+mn-ea"/>
                <a:cs typeface="+mn-cs"/>
              </a:rPr>
              <a:t>Version 1.0</a:t>
            </a:r>
            <a:endParaRPr lang="en-US" sz="1200" b="1" i="0" u="none" strike="noStrike" kern="1200" cap="none" spc="0" normalizeH="0" baseline="0" noProof="0" dirty="0">
              <a:ln>
                <a:noFill/>
              </a:ln>
              <a:solidFill>
                <a:srgbClr val="CCB76A"/>
              </a:solidFill>
              <a:effectLst/>
              <a:uLnTx/>
              <a:uFillTx/>
              <a:latin typeface="Calibri"/>
              <a:ea typeface="Calibri"/>
              <a:cs typeface="Calibri"/>
            </a:endParaRPr>
          </a:p>
        </p:txBody>
      </p:sp>
      <p:sp>
        <p:nvSpPr>
          <p:cNvPr id="3" name="AutoShape 2">
            <a:extLst>
              <a:ext uri="{FF2B5EF4-FFF2-40B4-BE49-F238E27FC236}">
                <a16:creationId xmlns:a16="http://schemas.microsoft.com/office/drawing/2014/main" id="{2F41EB15-D23E-6CBB-A078-7C0537A70419}"/>
              </a:ext>
            </a:extLst>
          </p:cNvPr>
          <p:cNvSpPr>
            <a:spLocks noChangeAspect="1" noChangeArrowheads="1"/>
          </p:cNvSpPr>
          <p:nvPr/>
        </p:nvSpPr>
        <p:spPr bwMode="auto">
          <a:xfrm>
            <a:off x="6876898" y="1510260"/>
            <a:ext cx="1291742" cy="12917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4B6C28C0-C216-7240-89F1-2DCCD0E0AA39}"/>
              </a:ext>
            </a:extLst>
          </p:cNvPr>
          <p:cNvSpPr txBox="1"/>
          <p:nvPr/>
        </p:nvSpPr>
        <p:spPr>
          <a:xfrm>
            <a:off x="7029298" y="2185190"/>
            <a:ext cx="1109272" cy="369332"/>
          </a:xfrm>
          <a:prstGeom prst="rect">
            <a:avLst/>
          </a:prstGeom>
          <a:noFill/>
        </p:spPr>
        <p:txBody>
          <a:bodyPr wrap="square" rtlCol="0">
            <a:spAutoFit/>
          </a:bodyPr>
          <a:lstStyle/>
          <a:p>
            <a:r>
              <a:rPr lang="en-US" dirty="0">
                <a:solidFill>
                  <a:schemeClr val="bg1"/>
                </a:solidFill>
              </a:rPr>
              <a:t>{{image}}</a:t>
            </a:r>
          </a:p>
        </p:txBody>
      </p:sp>
    </p:spTree>
    <p:extLst>
      <p:ext uri="{BB962C8B-B14F-4D97-AF65-F5344CB8AC3E}">
        <p14:creationId xmlns:p14="http://schemas.microsoft.com/office/powerpoint/2010/main" val="3972853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Calibri"/>
                <a:ea typeface="Calibri"/>
                <a:cs typeface="Calibri"/>
              </a:rPr>
              <a:t>REGIONAL SERVICES (QATAR)</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TextBox 10">
            <a:extLst>
              <a:ext uri="{FF2B5EF4-FFF2-40B4-BE49-F238E27FC236}">
                <a16:creationId xmlns:a16="http://schemas.microsoft.com/office/drawing/2014/main" id="{C725ECA1-D54E-5225-950A-6FE0EFE8AE47}"/>
              </a:ext>
            </a:extLst>
          </p:cNvPr>
          <p:cNvSpPr txBox="1"/>
          <p:nvPr/>
        </p:nvSpPr>
        <p:spPr>
          <a:xfrm>
            <a:off x="2087288" y="1612495"/>
            <a:ext cx="8438472" cy="1439833"/>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QCB (Qatar Central Bank)  CONSULTANCY</a:t>
            </a:r>
          </a:p>
        </p:txBody>
      </p:sp>
      <p:sp>
        <p:nvSpPr>
          <p:cNvPr id="15" name="TextBox 11">
            <a:extLst>
              <a:ext uri="{FF2B5EF4-FFF2-40B4-BE49-F238E27FC236}">
                <a16:creationId xmlns:a16="http://schemas.microsoft.com/office/drawing/2014/main" id="{F66EB04C-81AC-C6D3-8F9A-232FE92F9217}"/>
              </a:ext>
            </a:extLst>
          </p:cNvPr>
          <p:cNvSpPr txBox="1"/>
          <p:nvPr/>
        </p:nvSpPr>
        <p:spPr>
          <a:xfrm>
            <a:off x="2087288" y="2572038"/>
            <a:ext cx="8438472" cy="3523962"/>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The main purpose of the QCB cyber security circular is to provide guidance to bank users, employees, contractors and other authorized users, of their obligatory requirements for protecting the technology and information assets of the bank.</a:t>
            </a:r>
          </a:p>
          <a:p>
            <a:pPr marL="0" marR="0" lvl="0" indent="0" algn="l" defTabSz="857250" rtl="0" eaLnBrk="1" fontAlgn="auto" latinLnBrk="0" hangingPunct="1">
              <a:lnSpc>
                <a:spcPts val="1969"/>
              </a:lnSpc>
              <a:spcBef>
                <a:spcPts val="0"/>
              </a:spcBef>
              <a:spcAft>
                <a:spcPts val="0"/>
              </a:spcAft>
              <a:buClrTx/>
              <a:buSzTx/>
              <a:buFontTx/>
              <a:buNone/>
              <a:tabLst/>
              <a:defRPr/>
            </a:pPr>
            <a:endParaRPr kumimoji="0" lang="en-US" sz="1800" b="0" i="0" u="none" strike="noStrike" kern="1200" cap="none" spc="13" normalizeH="0" baseline="0" noProof="0">
              <a:ln>
                <a:noFill/>
              </a:ln>
              <a:solidFill>
                <a:srgbClr val="EDE6E2"/>
              </a:solidFill>
              <a:effectLst/>
              <a:uLnTx/>
              <a:uFillTx/>
              <a:latin typeface="Calibri"/>
              <a:ea typeface="+mn-ea"/>
              <a:cs typeface="Calibri"/>
            </a:endParaRPr>
          </a:p>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circular by QCB (Qatar Central Bank) and can make you ready for QCB CC circular Assessment and Compliance.</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213846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a:extLst>
              <a:ext uri="{FF2B5EF4-FFF2-40B4-BE49-F238E27FC236}">
                <a16:creationId xmlns:a16="http://schemas.microsoft.com/office/drawing/2014/main" id="{84728BB7-D9CF-1D12-D377-6BA285EF82E5}"/>
              </a:ext>
            </a:extLst>
          </p:cNvPr>
          <p:cNvSpPr/>
          <p:nvPr/>
        </p:nvSpPr>
        <p:spPr>
          <a:xfrm>
            <a:off x="7643040" y="0"/>
            <a:ext cx="45489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8497423" y="2849883"/>
            <a:ext cx="2896660" cy="1346907"/>
          </a:xfrm>
          <a:prstGeom prst="rect">
            <a:avLst/>
          </a:prstGeom>
        </p:spPr>
        <p:txBody>
          <a:bodyPr wrap="square" lIns="0" tIns="0" rIns="0" bIns="0" rtlCol="0" anchor="t">
            <a:spAutoFit/>
          </a:bodyPr>
          <a:lstStyle/>
          <a:p>
            <a:pPr marL="0" marR="0" lvl="0" indent="0" algn="just"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ompliance services including but not limited to the mentioned standards and regulations</a:t>
            </a:r>
          </a:p>
          <a:p>
            <a:pPr marL="0" marR="0" lvl="0" indent="0" algn="just" defTabSz="857250" rtl="0" eaLnBrk="1" fontAlgn="auto" latinLnBrk="0" hangingPunct="1">
              <a:lnSpc>
                <a:spcPts val="2055"/>
              </a:lnSpc>
              <a:spcBef>
                <a:spcPts val="0"/>
              </a:spcBef>
              <a:spcAft>
                <a:spcPts val="0"/>
              </a:spcAft>
              <a:buClrTx/>
              <a:buSzTx/>
              <a:buFontTx/>
              <a:buNone/>
              <a:tabLst/>
              <a:defRPr/>
            </a:pPr>
            <a:endParaRPr kumimoji="0" lang="en-US" sz="1800" b="0" i="0" u="none" strike="noStrike" kern="1200" cap="none" spc="102"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grpSp>
        <p:nvGrpSpPr>
          <p:cNvPr id="132" name="Group 4">
            <a:extLst>
              <a:ext uri="{FF2B5EF4-FFF2-40B4-BE49-F238E27FC236}">
                <a16:creationId xmlns:a16="http://schemas.microsoft.com/office/drawing/2014/main" id="{74091E4B-BDC3-FA69-FCCD-921B22FEAF11}"/>
              </a:ext>
            </a:extLst>
          </p:cNvPr>
          <p:cNvGrpSpPr/>
          <p:nvPr/>
        </p:nvGrpSpPr>
        <p:grpSpPr>
          <a:xfrm>
            <a:off x="8524398" y="1720286"/>
            <a:ext cx="4379659" cy="880033"/>
            <a:chOff x="0" y="85725"/>
            <a:chExt cx="6228847"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6228847" cy="832229"/>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PLIANCE</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8" name="Freeform 12">
            <a:extLst>
              <a:ext uri="{FF2B5EF4-FFF2-40B4-BE49-F238E27FC236}">
                <a16:creationId xmlns:a16="http://schemas.microsoft.com/office/drawing/2014/main" id="{4B29282A-2E26-8DF6-55EF-4EA06E94EC8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18ED7D50-5D3F-E146-C959-5DF43EC6322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295383" y="2258875"/>
            <a:ext cx="4071840" cy="1040881"/>
          </a:xfrm>
          <a:prstGeom prst="rect">
            <a:avLst/>
          </a:prstGeom>
        </p:spPr>
      </p:pic>
      <p:pic>
        <p:nvPicPr>
          <p:cNvPr id="4" name="Picture 3">
            <a:extLst>
              <a:ext uri="{FF2B5EF4-FFF2-40B4-BE49-F238E27FC236}">
                <a16:creationId xmlns:a16="http://schemas.microsoft.com/office/drawing/2014/main" id="{A23A3D7C-9BAB-977F-6200-5F71477C294E}"/>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96637" y="1204536"/>
            <a:ext cx="1811301" cy="811754"/>
          </a:xfrm>
          <a:prstGeom prst="rect">
            <a:avLst/>
          </a:prstGeom>
          <a:ln>
            <a:noFill/>
          </a:ln>
        </p:spPr>
      </p:pic>
      <p:grpSp>
        <p:nvGrpSpPr>
          <p:cNvPr id="5" name="Group 4">
            <a:extLst>
              <a:ext uri="{FF2B5EF4-FFF2-40B4-BE49-F238E27FC236}">
                <a16:creationId xmlns:a16="http://schemas.microsoft.com/office/drawing/2014/main" id="{95D73A32-1B68-65B0-994B-643BE1F211AE}"/>
              </a:ext>
            </a:extLst>
          </p:cNvPr>
          <p:cNvGrpSpPr/>
          <p:nvPr/>
        </p:nvGrpSpPr>
        <p:grpSpPr>
          <a:xfrm>
            <a:off x="663289" y="318352"/>
            <a:ext cx="3119077" cy="1027944"/>
            <a:chOff x="751593" y="5060803"/>
            <a:chExt cx="3608982" cy="1034621"/>
          </a:xfrm>
        </p:grpSpPr>
        <p:pic>
          <p:nvPicPr>
            <p:cNvPr id="6" name="Picture 5">
              <a:extLst>
                <a:ext uri="{FF2B5EF4-FFF2-40B4-BE49-F238E27FC236}">
                  <a16:creationId xmlns:a16="http://schemas.microsoft.com/office/drawing/2014/main" id="{3FAC39AA-67F7-187C-8209-7BFAFF8E2E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51593" y="5060803"/>
              <a:ext cx="1839207" cy="990024"/>
            </a:xfrm>
            <a:prstGeom prst="rect">
              <a:avLst/>
            </a:prstGeom>
          </p:spPr>
        </p:pic>
        <p:pic>
          <p:nvPicPr>
            <p:cNvPr id="7" name="Picture 6">
              <a:extLst>
                <a:ext uri="{FF2B5EF4-FFF2-40B4-BE49-F238E27FC236}">
                  <a16:creationId xmlns:a16="http://schemas.microsoft.com/office/drawing/2014/main" id="{84402343-6748-94E2-BBFE-D4DCA3FF7D7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967143" y="5105400"/>
              <a:ext cx="1393432" cy="990024"/>
            </a:xfrm>
            <a:prstGeom prst="rect">
              <a:avLst/>
            </a:prstGeom>
          </p:spPr>
        </p:pic>
      </p:grpSp>
      <p:grpSp>
        <p:nvGrpSpPr>
          <p:cNvPr id="10" name="Group 9">
            <a:extLst>
              <a:ext uri="{FF2B5EF4-FFF2-40B4-BE49-F238E27FC236}">
                <a16:creationId xmlns:a16="http://schemas.microsoft.com/office/drawing/2014/main" id="{9F742E87-69DB-9A2A-B094-4FDC7A203E3E}"/>
              </a:ext>
            </a:extLst>
          </p:cNvPr>
          <p:cNvGrpSpPr/>
          <p:nvPr/>
        </p:nvGrpSpPr>
        <p:grpSpPr>
          <a:xfrm>
            <a:off x="477646" y="4376948"/>
            <a:ext cx="4138370" cy="716081"/>
            <a:chOff x="2008331" y="1679887"/>
            <a:chExt cx="4788419" cy="724906"/>
          </a:xfrm>
        </p:grpSpPr>
        <p:pic>
          <p:nvPicPr>
            <p:cNvPr id="11" name="Picture 10">
              <a:extLst>
                <a:ext uri="{FF2B5EF4-FFF2-40B4-BE49-F238E27FC236}">
                  <a16:creationId xmlns:a16="http://schemas.microsoft.com/office/drawing/2014/main" id="{46AD5AD4-B977-01D7-5424-60CF99ACC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08331" y="1679887"/>
              <a:ext cx="2315022" cy="724906"/>
            </a:xfrm>
            <a:prstGeom prst="rect">
              <a:avLst/>
            </a:prstGeom>
          </p:spPr>
        </p:pic>
        <p:sp>
          <p:nvSpPr>
            <p:cNvPr id="12" name="TextBox 11">
              <a:extLst>
                <a:ext uri="{FF2B5EF4-FFF2-40B4-BE49-F238E27FC236}">
                  <a16:creationId xmlns:a16="http://schemas.microsoft.com/office/drawing/2014/main" id="{95D37F8F-77C7-06B4-24B8-64415BE51951}"/>
                </a:ext>
              </a:extLst>
            </p:cNvPr>
            <p:cNvSpPr txBox="1"/>
            <p:nvPr/>
          </p:nvSpPr>
          <p:spPr>
            <a:xfrm>
              <a:off x="4361158" y="1785368"/>
              <a:ext cx="243559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rPr>
                <a:t>National Information Assurance Standard (NIAS)</a:t>
              </a:r>
              <a:endParaRPr kumimoji="0" lang="en-US" sz="1400" b="1" i="0" u="none" strike="noStrike" kern="1200" cap="none" spc="0" normalizeH="0" baseline="0" noProof="0">
                <a:ln>
                  <a:noFill/>
                </a:ln>
                <a:solidFill>
                  <a:srgbClr val="8D1737"/>
                </a:solidFill>
                <a:effectLst/>
                <a:uLnTx/>
                <a:uFillTx/>
                <a:latin typeface="Calibri" panose="020F0502020204030204" pitchFamily="34" charset="0"/>
                <a:ea typeface="+mn-ea"/>
                <a:cs typeface="Calibri" panose="020F0502020204030204" pitchFamily="34" charset="0"/>
              </a:endParaRPr>
            </a:p>
          </p:txBody>
        </p:sp>
      </p:grpSp>
      <p:grpSp>
        <p:nvGrpSpPr>
          <p:cNvPr id="16" name="Group 15">
            <a:extLst>
              <a:ext uri="{FF2B5EF4-FFF2-40B4-BE49-F238E27FC236}">
                <a16:creationId xmlns:a16="http://schemas.microsoft.com/office/drawing/2014/main" id="{941988C2-BADB-C88F-E953-3611C2922857}"/>
              </a:ext>
            </a:extLst>
          </p:cNvPr>
          <p:cNvGrpSpPr/>
          <p:nvPr/>
        </p:nvGrpSpPr>
        <p:grpSpPr>
          <a:xfrm>
            <a:off x="382774" y="5037943"/>
            <a:ext cx="2361108" cy="1048856"/>
            <a:chOff x="2957256" y="5656745"/>
            <a:chExt cx="2915181" cy="1048856"/>
          </a:xfrm>
        </p:grpSpPr>
        <p:pic>
          <p:nvPicPr>
            <p:cNvPr id="17" name="Picture 16">
              <a:extLst>
                <a:ext uri="{FF2B5EF4-FFF2-40B4-BE49-F238E27FC236}">
                  <a16:creationId xmlns:a16="http://schemas.microsoft.com/office/drawing/2014/main" id="{6DD85A40-9CCE-52A4-8530-9E934B950FD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57256" y="5656745"/>
              <a:ext cx="1085756" cy="1048856"/>
            </a:xfrm>
            <a:prstGeom prst="rect">
              <a:avLst/>
            </a:prstGeom>
          </p:spPr>
        </p:pic>
        <p:sp>
          <p:nvSpPr>
            <p:cNvPr id="18" name="TextBox 17">
              <a:extLst>
                <a:ext uri="{FF2B5EF4-FFF2-40B4-BE49-F238E27FC236}">
                  <a16:creationId xmlns:a16="http://schemas.microsoft.com/office/drawing/2014/main" id="{A6D30F0C-A82C-BBB1-0F2F-27915841A6C5}"/>
                </a:ext>
              </a:extLst>
            </p:cNvPr>
            <p:cNvSpPr txBox="1"/>
            <p:nvPr/>
          </p:nvSpPr>
          <p:spPr>
            <a:xfrm>
              <a:off x="4065674" y="5826673"/>
              <a:ext cx="1806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3D43"/>
                  </a:solidFill>
                  <a:effectLst/>
                  <a:uLnTx/>
                  <a:uFillTx/>
                  <a:latin typeface="Calibri" panose="020F0502020204030204" pitchFamily="34" charset="0"/>
                  <a:ea typeface="+mn-ea"/>
                  <a:cs typeface="Calibri" panose="020F0502020204030204" pitchFamily="34" charset="0"/>
                </a:rPr>
                <a:t>Abu Dhabi Healthcare Information and Cyber Security</a:t>
              </a:r>
            </a:p>
          </p:txBody>
        </p:sp>
      </p:grpSp>
      <p:grpSp>
        <p:nvGrpSpPr>
          <p:cNvPr id="19" name="Group 18">
            <a:extLst>
              <a:ext uri="{FF2B5EF4-FFF2-40B4-BE49-F238E27FC236}">
                <a16:creationId xmlns:a16="http://schemas.microsoft.com/office/drawing/2014/main" id="{C663D465-B0D0-80C7-3C9F-69ABA4E7E5D0}"/>
              </a:ext>
            </a:extLst>
          </p:cNvPr>
          <p:cNvGrpSpPr/>
          <p:nvPr/>
        </p:nvGrpSpPr>
        <p:grpSpPr>
          <a:xfrm>
            <a:off x="4142251" y="263347"/>
            <a:ext cx="2777316" cy="889074"/>
            <a:chOff x="4080684" y="3485687"/>
            <a:chExt cx="2777316" cy="889074"/>
          </a:xfrm>
        </p:grpSpPr>
        <p:sp>
          <p:nvSpPr>
            <p:cNvPr id="20" name="TextBox 19">
              <a:extLst>
                <a:ext uri="{FF2B5EF4-FFF2-40B4-BE49-F238E27FC236}">
                  <a16:creationId xmlns:a16="http://schemas.microsoft.com/office/drawing/2014/main" id="{C8913A12-4136-91AB-2DBC-AB672685B87C}"/>
                </a:ext>
              </a:extLst>
            </p:cNvPr>
            <p:cNvSpPr txBox="1"/>
            <p:nvPr/>
          </p:nvSpPr>
          <p:spPr>
            <a:xfrm>
              <a:off x="4930856" y="3705917"/>
              <a:ext cx="19271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rPr>
                <a:t>INFORMATION SECURITY RESOLUTION</a:t>
              </a:r>
              <a:endParaRPr kumimoji="0" lang="en-US" sz="1800" b="0" i="0" u="none" strike="noStrike" kern="1200" cap="none" spc="0" normalizeH="0" baseline="0" noProof="0">
                <a:ln>
                  <a:noFill/>
                </a:ln>
                <a:solidFill>
                  <a:srgbClr val="EE1B2F"/>
                </a:solidFill>
                <a:effectLst/>
                <a:uLnTx/>
                <a:uFillTx/>
                <a:latin typeface="Calibri" panose="020F0502020204030204" pitchFamily="34" charset="0"/>
                <a:ea typeface="+mn-ea"/>
                <a:cs typeface="Calibri" panose="020F0502020204030204" pitchFamily="34" charset="0"/>
              </a:endParaRPr>
            </a:p>
          </p:txBody>
        </p:sp>
        <p:pic>
          <p:nvPicPr>
            <p:cNvPr id="21" name="Picture 20">
              <a:extLst>
                <a:ext uri="{FF2B5EF4-FFF2-40B4-BE49-F238E27FC236}">
                  <a16:creationId xmlns:a16="http://schemas.microsoft.com/office/drawing/2014/main" id="{8302186B-A18E-320D-3540-60502C2B64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0684" y="3485687"/>
              <a:ext cx="911870" cy="889074"/>
            </a:xfrm>
            <a:prstGeom prst="rect">
              <a:avLst/>
            </a:prstGeom>
          </p:spPr>
        </p:pic>
      </p:grpSp>
      <p:pic>
        <p:nvPicPr>
          <p:cNvPr id="22" name="Picture 21">
            <a:extLst>
              <a:ext uri="{FF2B5EF4-FFF2-40B4-BE49-F238E27FC236}">
                <a16:creationId xmlns:a16="http://schemas.microsoft.com/office/drawing/2014/main" id="{785D8D8D-223C-01C1-19C8-BDE1960123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82142" y="3641594"/>
            <a:ext cx="1701617" cy="948297"/>
          </a:xfrm>
          <a:prstGeom prst="rect">
            <a:avLst/>
          </a:prstGeom>
        </p:spPr>
      </p:pic>
      <p:pic>
        <p:nvPicPr>
          <p:cNvPr id="23" name="Picture 22">
            <a:extLst>
              <a:ext uri="{FF2B5EF4-FFF2-40B4-BE49-F238E27FC236}">
                <a16:creationId xmlns:a16="http://schemas.microsoft.com/office/drawing/2014/main" id="{E314CE05-2ED3-6771-0486-87A0315A5D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4836" y="1649003"/>
            <a:ext cx="1526700" cy="595864"/>
          </a:xfrm>
          <a:prstGeom prst="rect">
            <a:avLst/>
          </a:prstGeom>
        </p:spPr>
      </p:pic>
      <p:grpSp>
        <p:nvGrpSpPr>
          <p:cNvPr id="29" name="Group 28">
            <a:extLst>
              <a:ext uri="{FF2B5EF4-FFF2-40B4-BE49-F238E27FC236}">
                <a16:creationId xmlns:a16="http://schemas.microsoft.com/office/drawing/2014/main" id="{88086D96-26DA-FC80-3558-313B65B5C760}"/>
              </a:ext>
            </a:extLst>
          </p:cNvPr>
          <p:cNvGrpSpPr/>
          <p:nvPr/>
        </p:nvGrpSpPr>
        <p:grpSpPr>
          <a:xfrm>
            <a:off x="4705590" y="2956699"/>
            <a:ext cx="2950772" cy="738664"/>
            <a:chOff x="3944065" y="511763"/>
            <a:chExt cx="3590552" cy="831202"/>
          </a:xfrm>
        </p:grpSpPr>
        <p:pic>
          <p:nvPicPr>
            <p:cNvPr id="27" name="Picture 26">
              <a:extLst>
                <a:ext uri="{FF2B5EF4-FFF2-40B4-BE49-F238E27FC236}">
                  <a16:creationId xmlns:a16="http://schemas.microsoft.com/office/drawing/2014/main" id="{8F74C4DC-75AA-E5EF-8325-CEC17B958E5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44065" y="511763"/>
              <a:ext cx="831202" cy="831202"/>
            </a:xfrm>
            <a:prstGeom prst="rect">
              <a:avLst/>
            </a:prstGeom>
          </p:spPr>
        </p:pic>
        <p:sp>
          <p:nvSpPr>
            <p:cNvPr id="28" name="TextBox 27">
              <a:extLst>
                <a:ext uri="{FF2B5EF4-FFF2-40B4-BE49-F238E27FC236}">
                  <a16:creationId xmlns:a16="http://schemas.microsoft.com/office/drawing/2014/main" id="{733C3C48-5C66-052B-2737-B041A6F88221}"/>
                </a:ext>
              </a:extLst>
            </p:cNvPr>
            <p:cNvSpPr txBox="1"/>
            <p:nvPr/>
          </p:nvSpPr>
          <p:spPr>
            <a:xfrm>
              <a:off x="4804242" y="555567"/>
              <a:ext cx="273037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236"/>
                  </a:solidFill>
                  <a:effectLst/>
                  <a:uLnTx/>
                  <a:uFillTx/>
                  <a:latin typeface="Calibri" panose="020F0502020204030204" pitchFamily="34" charset="0"/>
                  <a:ea typeface="+mn-ea"/>
                  <a:cs typeface="Calibri" panose="020F0502020204030204" pitchFamily="34" charset="0"/>
                </a:rPr>
                <a:t>Enterprise Technology Governance &amp; Risk Management Framework</a:t>
              </a:r>
            </a:p>
          </p:txBody>
        </p:sp>
      </p:grpSp>
      <p:sp>
        <p:nvSpPr>
          <p:cNvPr id="2" name="Slide Number Placeholder 4">
            <a:extLst>
              <a:ext uri="{FF2B5EF4-FFF2-40B4-BE49-F238E27FC236}">
                <a16:creationId xmlns:a16="http://schemas.microsoft.com/office/drawing/2014/main" id="{0C77B820-9724-946E-D1C0-2A6A655E25EB}"/>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8" descr="Logo, company name&#10;&#10;Description automatically generated">
            <a:extLst>
              <a:ext uri="{FF2B5EF4-FFF2-40B4-BE49-F238E27FC236}">
                <a16:creationId xmlns:a16="http://schemas.microsoft.com/office/drawing/2014/main" id="{675DF818-BD98-D33A-1C67-0C73829F7A9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09094" y="1523020"/>
            <a:ext cx="1725171" cy="862586"/>
          </a:xfrm>
          <a:prstGeom prst="rect">
            <a:avLst/>
          </a:prstGeom>
        </p:spPr>
      </p:pic>
      <p:pic>
        <p:nvPicPr>
          <p:cNvPr id="25" name="Picture 24" descr="A picture containing shape&#10;&#10;Description automatically generated">
            <a:extLst>
              <a:ext uri="{FF2B5EF4-FFF2-40B4-BE49-F238E27FC236}">
                <a16:creationId xmlns:a16="http://schemas.microsoft.com/office/drawing/2014/main" id="{75B75D63-5DB4-651A-E9A5-ECD3F662E99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7909" y="1610413"/>
            <a:ext cx="1556174" cy="539474"/>
          </a:xfrm>
          <a:prstGeom prst="rect">
            <a:avLst/>
          </a:prstGeom>
        </p:spPr>
      </p:pic>
      <p:grpSp>
        <p:nvGrpSpPr>
          <p:cNvPr id="13" name="Group 12">
            <a:extLst>
              <a:ext uri="{FF2B5EF4-FFF2-40B4-BE49-F238E27FC236}">
                <a16:creationId xmlns:a16="http://schemas.microsoft.com/office/drawing/2014/main" id="{1EC7EEAB-BA2B-EA26-8E22-64FF1BAB4C42}"/>
              </a:ext>
            </a:extLst>
          </p:cNvPr>
          <p:cNvGrpSpPr/>
          <p:nvPr/>
        </p:nvGrpSpPr>
        <p:grpSpPr>
          <a:xfrm>
            <a:off x="310378" y="3391536"/>
            <a:ext cx="4910702" cy="886634"/>
            <a:chOff x="774453" y="2604493"/>
            <a:chExt cx="4292622" cy="721942"/>
          </a:xfrm>
        </p:grpSpPr>
        <p:pic>
          <p:nvPicPr>
            <p:cNvPr id="14" name="Picture 13">
              <a:extLst>
                <a:ext uri="{FF2B5EF4-FFF2-40B4-BE49-F238E27FC236}">
                  <a16:creationId xmlns:a16="http://schemas.microsoft.com/office/drawing/2014/main" id="{6880D972-7276-558C-4A3F-FDF493D958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4453" y="2604493"/>
              <a:ext cx="3005902" cy="721942"/>
            </a:xfrm>
            <a:prstGeom prst="rect">
              <a:avLst/>
            </a:prstGeom>
          </p:spPr>
        </p:pic>
        <p:sp>
          <p:nvSpPr>
            <p:cNvPr id="15" name="TextBox 14">
              <a:extLst>
                <a:ext uri="{FF2B5EF4-FFF2-40B4-BE49-F238E27FC236}">
                  <a16:creationId xmlns:a16="http://schemas.microsoft.com/office/drawing/2014/main" id="{069CB539-EC8E-AD8C-C7C8-24F3EAFC99C2}"/>
                </a:ext>
              </a:extLst>
            </p:cNvPr>
            <p:cNvSpPr txBox="1"/>
            <p:nvPr/>
          </p:nvSpPr>
          <p:spPr>
            <a:xfrm>
              <a:off x="3579630" y="2718841"/>
              <a:ext cx="1487445" cy="4260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Cyber Secu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319"/>
                  </a:solidFill>
                  <a:effectLst/>
                  <a:uLnTx/>
                  <a:uFillTx/>
                  <a:latin typeface="Calibri" panose="020F0502020204030204" pitchFamily="34" charset="0"/>
                  <a:ea typeface="+mn-ea"/>
                  <a:cs typeface="Calibri" panose="020F0502020204030204" pitchFamily="34" charset="0"/>
                </a:rPr>
                <a:t>Framework</a:t>
              </a:r>
            </a:p>
          </p:txBody>
        </p:sp>
      </p:grpSp>
      <p:pic>
        <p:nvPicPr>
          <p:cNvPr id="30" name="Picture 29" descr="Text&#10;&#10;Description automatically generated">
            <a:extLst>
              <a:ext uri="{FF2B5EF4-FFF2-40B4-BE49-F238E27FC236}">
                <a16:creationId xmlns:a16="http://schemas.microsoft.com/office/drawing/2014/main" id="{FAED19F3-14F0-F0FD-F060-D955B5EF7D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466617" y="1771918"/>
            <a:ext cx="2071340" cy="1380893"/>
          </a:xfrm>
          <a:prstGeom prst="rect">
            <a:avLst/>
          </a:prstGeom>
        </p:spPr>
      </p:pic>
      <p:pic>
        <p:nvPicPr>
          <p:cNvPr id="32" name="Picture 31" descr="Timeline">
            <a:extLst>
              <a:ext uri="{FF2B5EF4-FFF2-40B4-BE49-F238E27FC236}">
                <a16:creationId xmlns:a16="http://schemas.microsoft.com/office/drawing/2014/main" id="{58B94270-BDDD-058B-5F1A-53FCF1748B04}"/>
              </a:ext>
            </a:extLst>
          </p:cNvPr>
          <p:cNvPicPr>
            <a:picLocks noChangeAspect="1"/>
          </p:cNvPicPr>
          <p:nvPr/>
        </p:nvPicPr>
        <p:blipFill rotWithShape="1">
          <a:blip r:embed="rId19">
            <a:extLst>
              <a:ext uri="{28A0092B-C50C-407E-A947-70E740481C1C}">
                <a14:useLocalDpi xmlns:a14="http://schemas.microsoft.com/office/drawing/2010/main" val="0"/>
              </a:ext>
            </a:extLst>
          </a:blip>
          <a:srcRect t="29353" b="28016"/>
          <a:stretch/>
        </p:blipFill>
        <p:spPr>
          <a:xfrm>
            <a:off x="4040237" y="5601089"/>
            <a:ext cx="3212649" cy="796652"/>
          </a:xfrm>
          <a:prstGeom prst="rect">
            <a:avLst/>
          </a:prstGeom>
        </p:spPr>
      </p:pic>
      <p:pic>
        <p:nvPicPr>
          <p:cNvPr id="8" name="Picture 7" descr="Logo&#10;&#10;Description automatically generated">
            <a:extLst>
              <a:ext uri="{FF2B5EF4-FFF2-40B4-BE49-F238E27FC236}">
                <a16:creationId xmlns:a16="http://schemas.microsoft.com/office/drawing/2014/main" id="{42EFAAB2-1C55-9563-F7CC-C17CEF7FB68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23871" y="5363074"/>
            <a:ext cx="833253" cy="833253"/>
          </a:xfrm>
          <a:prstGeom prst="rect">
            <a:avLst/>
          </a:prstGeom>
        </p:spPr>
      </p:pic>
      <p:pic>
        <p:nvPicPr>
          <p:cNvPr id="1026" name="Picture 2" descr="upload.wikimedia.org/wikipedia/en/thumb/5/57/Logo_...">
            <a:extLst>
              <a:ext uri="{FF2B5EF4-FFF2-40B4-BE49-F238E27FC236}">
                <a16:creationId xmlns:a16="http://schemas.microsoft.com/office/drawing/2014/main" id="{1A201728-B3AE-D3B3-91B6-941E76BCEE51}"/>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91586" y="4032578"/>
            <a:ext cx="1462016" cy="12626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SO (International Organization for ...">
            <a:extLst>
              <a:ext uri="{FF2B5EF4-FFF2-40B4-BE49-F238E27FC236}">
                <a16:creationId xmlns:a16="http://schemas.microsoft.com/office/drawing/2014/main" id="{7E4F6D92-8F77-2918-3A2A-7B286835CC14}"/>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133186" y="4683772"/>
            <a:ext cx="1096058" cy="8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762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10" name="Picture 9" descr="A close-up of hands shaking&#10;&#10;Description automatically generated with medium confidence">
            <a:extLst>
              <a:ext uri="{FF2B5EF4-FFF2-40B4-BE49-F238E27FC236}">
                <a16:creationId xmlns:a16="http://schemas.microsoft.com/office/drawing/2014/main" id="{0E714B9E-FABD-60CF-1A2F-272DF7A605CA}"/>
              </a:ext>
            </a:extLst>
          </p:cNvPr>
          <p:cNvPicPr>
            <a:picLocks noChangeAspect="1"/>
          </p:cNvPicPr>
          <p:nvPr/>
        </p:nvPicPr>
        <p:blipFill rotWithShape="1">
          <a:blip r:embed="rId3">
            <a:extLst>
              <a:ext uri="{28A0092B-C50C-407E-A947-70E740481C1C}">
                <a14:useLocalDpi xmlns:a14="http://schemas.microsoft.com/office/drawing/2010/main" val="0"/>
              </a:ext>
            </a:extLst>
          </a:blip>
          <a:srcRect b="22005"/>
          <a:stretch/>
        </p:blipFill>
        <p:spPr>
          <a:xfrm>
            <a:off x="0" y="-15830"/>
            <a:ext cx="12192000" cy="3444829"/>
          </a:xfrm>
          <a:prstGeom prst="rect">
            <a:avLst/>
          </a:prstGeom>
        </p:spPr>
      </p:pic>
      <p:grpSp>
        <p:nvGrpSpPr>
          <p:cNvPr id="4" name="Group 4"/>
          <p:cNvGrpSpPr/>
          <p:nvPr/>
        </p:nvGrpSpPr>
        <p:grpSpPr>
          <a:xfrm>
            <a:off x="599425" y="4016158"/>
            <a:ext cx="10818253" cy="2001132"/>
            <a:chOff x="0" y="85725"/>
            <a:chExt cx="11531402" cy="2846054"/>
          </a:xfrm>
        </p:grpSpPr>
        <p:sp>
          <p:nvSpPr>
            <p:cNvPr id="5" name="TextBox 5"/>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dirty="0">
                  <a:ln>
                    <a:noFill/>
                  </a:ln>
                  <a:solidFill>
                    <a:prstClr val="white"/>
                  </a:solidFill>
                  <a:effectLst/>
                  <a:uLnTx/>
                  <a:uFillTx/>
                  <a:latin typeface="+mj-lt"/>
                  <a:ea typeface="+mn-ea"/>
                  <a:cs typeface="Calibri" panose="020F0502020204030204" pitchFamily="34" charset="0"/>
                </a:rPr>
                <a:t>OUR CLIENTS</a:t>
              </a:r>
            </a:p>
          </p:txBody>
        </p:sp>
        <p:sp>
          <p:nvSpPr>
            <p:cNvPr id="6" name="TextBox 6"/>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7" name="TextBox 7"/>
            <p:cNvSpPr txBox="1"/>
            <p:nvPr/>
          </p:nvSpPr>
          <p:spPr>
            <a:xfrm>
              <a:off x="0" y="2503171"/>
              <a:ext cx="11528498" cy="428608"/>
            </a:xfrm>
            <a:prstGeom prst="rect">
              <a:avLst/>
            </a:prstGeom>
          </p:spPr>
          <p:txBody>
            <a:bodyPr lIns="0" tIns="0" rIns="0" bIns="0" rtlCol="0" anchor="t">
              <a:spAutoFit/>
            </a:bodyPr>
            <a:lstStyle/>
            <a:p>
              <a:pPr marL="0" marR="0" lvl="0" indent="0" algn="just" defTabSz="857250" rtl="0" eaLnBrk="1" fontAlgn="auto" latinLnBrk="0" hangingPunct="1">
                <a:lnSpc>
                  <a:spcPts val="2531"/>
                </a:lnSpc>
                <a:spcBef>
                  <a:spcPts val="0"/>
                </a:spcBef>
                <a:spcAft>
                  <a:spcPts val="0"/>
                </a:spcAft>
                <a:buClrTx/>
                <a:buSzTx/>
                <a:buFontTx/>
                <a:buNone/>
                <a:tabLst/>
                <a:defRPr/>
              </a:pPr>
              <a:endParaRPr kumimoji="0" lang="en-US" sz="1800" b="0" i="0" u="none" strike="noStrike" kern="1200" cap="none" spc="17" normalizeH="0" baseline="0" noProof="0">
                <a:ln>
                  <a:noFill/>
                </a:ln>
                <a:solidFill>
                  <a:srgbClr val="EDE6E2"/>
                </a:solidFill>
                <a:effectLst/>
                <a:uLnTx/>
                <a:uFillTx/>
                <a:latin typeface="Calibri" panose="020F0502020204030204" pitchFamily="34" charset="0"/>
                <a:ea typeface="+mn-ea"/>
                <a:cs typeface="Calibri" panose="020F0502020204030204" pitchFamily="34" charset="0"/>
              </a:endParaRPr>
            </a:p>
          </p:txBody>
        </p:sp>
        <p:sp>
          <p:nvSpPr>
            <p:cNvPr id="8" name="AutoShape 8"/>
            <p:cNvSpPr/>
            <p:nvPr/>
          </p:nvSpPr>
          <p:spPr>
            <a:xfrm>
              <a:off x="0" y="1241125"/>
              <a:ext cx="677333" cy="149013"/>
            </a:xfrm>
            <a:prstGeom prst="rect">
              <a:avLst/>
            </a:prstGeom>
            <a:solidFill>
              <a:srgbClr val="CCB76A"/>
            </a:solidFill>
          </p:spPr>
          <p:txBody>
            <a:bodyPr/>
            <a:lstStyle/>
            <a:p>
              <a:endParaRPr lang="en-US"/>
            </a:p>
          </p:txBody>
        </p:sp>
      </p:grpSp>
      <p:sp>
        <p:nvSpPr>
          <p:cNvPr id="3" name="Freeform 12">
            <a:extLst>
              <a:ext uri="{FF2B5EF4-FFF2-40B4-BE49-F238E27FC236}">
                <a16:creationId xmlns:a16="http://schemas.microsoft.com/office/drawing/2014/main" id="{BCE499C1-1BFF-F336-6B89-976AF394C28B}"/>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Freeform 11">
            <a:extLst>
              <a:ext uri="{FF2B5EF4-FFF2-40B4-BE49-F238E27FC236}">
                <a16:creationId xmlns:a16="http://schemas.microsoft.com/office/drawing/2014/main" id="{A31A4D8D-6C4A-92E8-7602-6A9CDE52B4D7}"/>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822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BEBA8EAE-BF5A-486C-A8C5-ECC9F3942E4B}">
                <a14:imgProps xmlns:a14="http://schemas.microsoft.com/office/drawing/2010/main">
                  <a14:imgLayer r:embed="rId4">
                    <a14:imgEffect>
                      <a14:colorTemperature colorTemp="9818"/>
                    </a14:imgEffect>
                  </a14:imgLayer>
                </a14:imgProps>
              </a:ex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85FD9C-7CC8-F827-0BF0-B0C13BE2C293}"/>
              </a:ext>
            </a:extLst>
          </p:cNvPr>
          <p:cNvSpPr/>
          <p:nvPr/>
        </p:nvSpPr>
        <p:spPr>
          <a:xfrm>
            <a:off x="0" y="0"/>
            <a:ext cx="12191999" cy="68580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TextBox 8"/>
          <p:cNvSpPr txBox="1"/>
          <p:nvPr/>
        </p:nvSpPr>
        <p:spPr>
          <a:xfrm>
            <a:off x="2057201" y="645620"/>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4000" b="1" i="0" u="none" strike="noStrike" kern="1200" cap="none" spc="32"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UR CLIENT INDUSTRIES</a:t>
            </a:r>
          </a:p>
        </p:txBody>
      </p:sp>
      <p:grpSp>
        <p:nvGrpSpPr>
          <p:cNvPr id="23" name="Group 22">
            <a:extLst>
              <a:ext uri="{FF2B5EF4-FFF2-40B4-BE49-F238E27FC236}">
                <a16:creationId xmlns:a16="http://schemas.microsoft.com/office/drawing/2014/main" id="{32FE489C-CFE2-4AC9-B302-5104F5CC4F1F}"/>
              </a:ext>
            </a:extLst>
          </p:cNvPr>
          <p:cNvGrpSpPr/>
          <p:nvPr/>
        </p:nvGrpSpPr>
        <p:grpSpPr>
          <a:xfrm>
            <a:off x="4497732" y="1333521"/>
            <a:ext cx="3215705" cy="2195035"/>
            <a:chOff x="6923911" y="2913197"/>
            <a:chExt cx="2069747" cy="3602523"/>
          </a:xfrm>
        </p:grpSpPr>
        <p:sp>
          <p:nvSpPr>
            <p:cNvPr id="24" name="AutoShape 7">
              <a:extLst>
                <a:ext uri="{FF2B5EF4-FFF2-40B4-BE49-F238E27FC236}">
                  <a16:creationId xmlns:a16="http://schemas.microsoft.com/office/drawing/2014/main" id="{311CE4F9-E30E-4891-A1A2-3EC34FD90452}"/>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25" name="Group 18">
              <a:extLst>
                <a:ext uri="{FF2B5EF4-FFF2-40B4-BE49-F238E27FC236}">
                  <a16:creationId xmlns:a16="http://schemas.microsoft.com/office/drawing/2014/main" id="{50741180-B9C3-4EBD-B56A-ED214674A267}"/>
                </a:ext>
              </a:extLst>
            </p:cNvPr>
            <p:cNvGrpSpPr/>
            <p:nvPr/>
          </p:nvGrpSpPr>
          <p:grpSpPr>
            <a:xfrm>
              <a:off x="6994069" y="3411294"/>
              <a:ext cx="1923980" cy="2257657"/>
              <a:chOff x="-100812" y="-375718"/>
              <a:chExt cx="2565307" cy="3010207"/>
            </a:xfrm>
          </p:grpSpPr>
          <p:sp>
            <p:nvSpPr>
              <p:cNvPr id="26" name="TextBox 19">
                <a:extLst>
                  <a:ext uri="{FF2B5EF4-FFF2-40B4-BE49-F238E27FC236}">
                    <a16:creationId xmlns:a16="http://schemas.microsoft.com/office/drawing/2014/main" id="{5ED3CC8C-EF88-4907-B267-86D1E68603A1}"/>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INANCIAL SECTOR</a:t>
                </a:r>
              </a:p>
            </p:txBody>
          </p:sp>
          <p:sp>
            <p:nvSpPr>
              <p:cNvPr id="27" name="TextBox 20">
                <a:extLst>
                  <a:ext uri="{FF2B5EF4-FFF2-40B4-BE49-F238E27FC236}">
                    <a16:creationId xmlns:a16="http://schemas.microsoft.com/office/drawing/2014/main" id="{F66D3B7B-018B-4BB1-ACB2-84490AFA26CE}"/>
                  </a:ext>
                </a:extLst>
              </p:cNvPr>
              <p:cNvSpPr txBox="1"/>
              <p:nvPr/>
            </p:nvSpPr>
            <p:spPr>
              <a:xfrm>
                <a:off x="-100812" y="54224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Bank and insurance companies have benefitted from our compliance and security services</a:t>
                </a:r>
              </a:p>
            </p:txBody>
          </p:sp>
        </p:grpSp>
      </p:grpSp>
      <p:grpSp>
        <p:nvGrpSpPr>
          <p:cNvPr id="28" name="Group 27">
            <a:extLst>
              <a:ext uri="{FF2B5EF4-FFF2-40B4-BE49-F238E27FC236}">
                <a16:creationId xmlns:a16="http://schemas.microsoft.com/office/drawing/2014/main" id="{EE86C1A3-C601-4067-B7B6-2910DABE126F}"/>
              </a:ext>
            </a:extLst>
          </p:cNvPr>
          <p:cNvGrpSpPr/>
          <p:nvPr/>
        </p:nvGrpSpPr>
        <p:grpSpPr>
          <a:xfrm>
            <a:off x="4493496" y="4014482"/>
            <a:ext cx="3215705" cy="2195035"/>
            <a:chOff x="6923911" y="2913197"/>
            <a:chExt cx="2069747" cy="3602523"/>
          </a:xfrm>
        </p:grpSpPr>
        <p:sp>
          <p:nvSpPr>
            <p:cNvPr id="29" name="AutoShape 7">
              <a:extLst>
                <a:ext uri="{FF2B5EF4-FFF2-40B4-BE49-F238E27FC236}">
                  <a16:creationId xmlns:a16="http://schemas.microsoft.com/office/drawing/2014/main" id="{032BF9D2-F78A-4B1C-A985-32167A37262A}"/>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0" name="Group 18">
              <a:extLst>
                <a:ext uri="{FF2B5EF4-FFF2-40B4-BE49-F238E27FC236}">
                  <a16:creationId xmlns:a16="http://schemas.microsoft.com/office/drawing/2014/main" id="{262B472F-6824-4B3A-B860-55E4F6C3F362}"/>
                </a:ext>
              </a:extLst>
            </p:cNvPr>
            <p:cNvGrpSpPr/>
            <p:nvPr/>
          </p:nvGrpSpPr>
          <p:grpSpPr>
            <a:xfrm>
              <a:off x="7069678" y="3340388"/>
              <a:ext cx="1778213" cy="2400489"/>
              <a:chOff x="0" y="-470259"/>
              <a:chExt cx="2370951" cy="3200650"/>
            </a:xfrm>
          </p:grpSpPr>
          <p:sp>
            <p:nvSpPr>
              <p:cNvPr id="31" name="TextBox 19">
                <a:extLst>
                  <a:ext uri="{FF2B5EF4-FFF2-40B4-BE49-F238E27FC236}">
                    <a16:creationId xmlns:a16="http://schemas.microsoft.com/office/drawing/2014/main" id="{139DFC8A-2171-4E3D-9CCB-EBC022A9BA08}"/>
                  </a:ext>
                </a:extLst>
              </p:cNvPr>
              <p:cNvSpPr txBox="1"/>
              <p:nvPr/>
            </p:nvSpPr>
            <p:spPr>
              <a:xfrm>
                <a:off x="0" y="-470259"/>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OVERNMENT</a:t>
                </a:r>
              </a:p>
            </p:txBody>
          </p:sp>
          <p:sp>
            <p:nvSpPr>
              <p:cNvPr id="32" name="TextBox 20">
                <a:extLst>
                  <a:ext uri="{FF2B5EF4-FFF2-40B4-BE49-F238E27FC236}">
                    <a16:creationId xmlns:a16="http://schemas.microsoft.com/office/drawing/2014/main" id="{EFFA9C1F-B299-474E-8A63-E770B961CD41}"/>
                  </a:ext>
                </a:extLst>
              </p:cNvPr>
              <p:cNvSpPr txBox="1"/>
              <p:nvPr/>
            </p:nvSpPr>
            <p:spPr>
              <a:xfrm>
                <a:off x="0" y="638150"/>
                <a:ext cx="2370951" cy="2092241"/>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served the unique cyber security needs of government sector in multiple countries</a:t>
                </a:r>
              </a:p>
            </p:txBody>
          </p:sp>
        </p:grpSp>
      </p:grpSp>
      <p:grpSp>
        <p:nvGrpSpPr>
          <p:cNvPr id="33" name="Group 32">
            <a:extLst>
              <a:ext uri="{FF2B5EF4-FFF2-40B4-BE49-F238E27FC236}">
                <a16:creationId xmlns:a16="http://schemas.microsoft.com/office/drawing/2014/main" id="{EBD64617-770D-4D30-B47A-896B12CC8CEF}"/>
              </a:ext>
            </a:extLst>
          </p:cNvPr>
          <p:cNvGrpSpPr/>
          <p:nvPr/>
        </p:nvGrpSpPr>
        <p:grpSpPr>
          <a:xfrm>
            <a:off x="8035782" y="1328639"/>
            <a:ext cx="3156063" cy="2195035"/>
            <a:chOff x="6923911" y="2913197"/>
            <a:chExt cx="2069747" cy="3602523"/>
          </a:xfrm>
        </p:grpSpPr>
        <p:sp>
          <p:nvSpPr>
            <p:cNvPr id="34" name="AutoShape 7">
              <a:extLst>
                <a:ext uri="{FF2B5EF4-FFF2-40B4-BE49-F238E27FC236}">
                  <a16:creationId xmlns:a16="http://schemas.microsoft.com/office/drawing/2014/main" id="{A63908C0-6C23-4588-890F-91A1015626BB}"/>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5" name="Group 18">
              <a:extLst>
                <a:ext uri="{FF2B5EF4-FFF2-40B4-BE49-F238E27FC236}">
                  <a16:creationId xmlns:a16="http://schemas.microsoft.com/office/drawing/2014/main" id="{4DFE3D40-A0F0-4D40-BA3D-5710D0549C81}"/>
                </a:ext>
              </a:extLst>
            </p:cNvPr>
            <p:cNvGrpSpPr/>
            <p:nvPr/>
          </p:nvGrpSpPr>
          <p:grpSpPr>
            <a:xfrm>
              <a:off x="7069678" y="3411294"/>
              <a:ext cx="1778213" cy="2329584"/>
              <a:chOff x="0" y="-375718"/>
              <a:chExt cx="2370951" cy="3106110"/>
            </a:xfrm>
          </p:grpSpPr>
          <p:sp>
            <p:nvSpPr>
              <p:cNvPr id="36" name="TextBox 19">
                <a:extLst>
                  <a:ext uri="{FF2B5EF4-FFF2-40B4-BE49-F238E27FC236}">
                    <a16:creationId xmlns:a16="http://schemas.microsoft.com/office/drawing/2014/main" id="{403025D8-9A1C-4A6F-9A57-85ED3D6FC54B}"/>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OIL &amp; GAS</a:t>
                </a:r>
              </a:p>
            </p:txBody>
          </p:sp>
          <p:sp>
            <p:nvSpPr>
              <p:cNvPr id="37" name="TextBox 20">
                <a:extLst>
                  <a:ext uri="{FF2B5EF4-FFF2-40B4-BE49-F238E27FC236}">
                    <a16:creationId xmlns:a16="http://schemas.microsoft.com/office/drawing/2014/main" id="{8359D53F-BC29-4D4F-A332-E98C7D6E8B25}"/>
                  </a:ext>
                </a:extLst>
              </p:cNvPr>
              <p:cNvSpPr txBox="1"/>
              <p:nvPr/>
            </p:nvSpPr>
            <p:spPr>
              <a:xfrm>
                <a:off x="0" y="638150"/>
                <a:ext cx="2370951" cy="2092242"/>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successfully  met the growing demand of cyber security in energy sector</a:t>
                </a:r>
              </a:p>
            </p:txBody>
          </p:sp>
        </p:grpSp>
      </p:grpSp>
      <p:grpSp>
        <p:nvGrpSpPr>
          <p:cNvPr id="38" name="Group 37">
            <a:extLst>
              <a:ext uri="{FF2B5EF4-FFF2-40B4-BE49-F238E27FC236}">
                <a16:creationId xmlns:a16="http://schemas.microsoft.com/office/drawing/2014/main" id="{EDA67154-FA88-43FA-BA62-E4343CF1867C}"/>
              </a:ext>
            </a:extLst>
          </p:cNvPr>
          <p:cNvGrpSpPr/>
          <p:nvPr/>
        </p:nvGrpSpPr>
        <p:grpSpPr>
          <a:xfrm>
            <a:off x="8035781" y="4008641"/>
            <a:ext cx="3156063" cy="2195035"/>
            <a:chOff x="6923911" y="2913197"/>
            <a:chExt cx="2069747" cy="3602523"/>
          </a:xfrm>
        </p:grpSpPr>
        <p:sp>
          <p:nvSpPr>
            <p:cNvPr id="39" name="AutoShape 7">
              <a:extLst>
                <a:ext uri="{FF2B5EF4-FFF2-40B4-BE49-F238E27FC236}">
                  <a16:creationId xmlns:a16="http://schemas.microsoft.com/office/drawing/2014/main" id="{9D93242F-1AC5-4751-995A-0E07E478F092}"/>
                </a:ext>
              </a:extLst>
            </p:cNvPr>
            <p:cNvSpPr/>
            <p:nvPr/>
          </p:nvSpPr>
          <p:spPr>
            <a:xfrm>
              <a:off x="6923911" y="2913197"/>
              <a:ext cx="2069747" cy="3602523"/>
            </a:xfrm>
            <a:prstGeom prst="rect">
              <a:avLst/>
            </a:prstGeom>
            <a:solidFill>
              <a:schemeClr val="tx1">
                <a:alpha val="75000"/>
              </a:schemeClr>
            </a:solidFill>
          </p:spPr>
          <p:txBody>
            <a:bodyPr/>
            <a:lstStyle/>
            <a:p>
              <a:endParaRPr lang="en-US"/>
            </a:p>
          </p:txBody>
        </p:sp>
        <p:grpSp>
          <p:nvGrpSpPr>
            <p:cNvPr id="40" name="Group 18">
              <a:extLst>
                <a:ext uri="{FF2B5EF4-FFF2-40B4-BE49-F238E27FC236}">
                  <a16:creationId xmlns:a16="http://schemas.microsoft.com/office/drawing/2014/main" id="{0145EBB3-FDF3-45EE-B9DD-1A43810A63F2}"/>
                </a:ext>
              </a:extLst>
            </p:cNvPr>
            <p:cNvGrpSpPr/>
            <p:nvPr/>
          </p:nvGrpSpPr>
          <p:grpSpPr>
            <a:xfrm>
              <a:off x="7069678" y="3336491"/>
              <a:ext cx="1778213" cy="2404386"/>
              <a:chOff x="0" y="-475455"/>
              <a:chExt cx="2370951" cy="3205847"/>
            </a:xfrm>
          </p:grpSpPr>
          <p:sp>
            <p:nvSpPr>
              <p:cNvPr id="41" name="TextBox 19">
                <a:extLst>
                  <a:ext uri="{FF2B5EF4-FFF2-40B4-BE49-F238E27FC236}">
                    <a16:creationId xmlns:a16="http://schemas.microsoft.com/office/drawing/2014/main" id="{EAD1367E-CA7C-46FE-8624-B1A058B5E220}"/>
                  </a:ext>
                </a:extLst>
              </p:cNvPr>
              <p:cNvSpPr txBox="1"/>
              <p:nvPr/>
            </p:nvSpPr>
            <p:spPr>
              <a:xfrm>
                <a:off x="0" y="-475455"/>
                <a:ext cx="2370951" cy="549213"/>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FMCG</a:t>
                </a:r>
              </a:p>
            </p:txBody>
          </p:sp>
          <p:sp>
            <p:nvSpPr>
              <p:cNvPr id="42" name="TextBox 20">
                <a:extLst>
                  <a:ext uri="{FF2B5EF4-FFF2-40B4-BE49-F238E27FC236}">
                    <a16:creationId xmlns:a16="http://schemas.microsoft.com/office/drawing/2014/main" id="{E632A7E4-E7AA-45E9-8A4A-A49A660AFC42}"/>
                  </a:ext>
                </a:extLst>
              </p:cNvPr>
              <p:cNvSpPr txBox="1"/>
              <p:nvPr/>
            </p:nvSpPr>
            <p:spPr>
              <a:xfrm>
                <a:off x="0" y="638149"/>
                <a:ext cx="2370951" cy="2092243"/>
              </a:xfrm>
              <a:prstGeom prst="rect">
                <a:avLst/>
              </a:prstGeom>
            </p:spPr>
            <p:txBody>
              <a:bodyPr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 delivered security services to protect supply chain and ensure resilient IT infrastructures</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grpSp>
      <p:grpSp>
        <p:nvGrpSpPr>
          <p:cNvPr id="43" name="Group 42">
            <a:extLst>
              <a:ext uri="{FF2B5EF4-FFF2-40B4-BE49-F238E27FC236}">
                <a16:creationId xmlns:a16="http://schemas.microsoft.com/office/drawing/2014/main" id="{70BE6CBF-435C-4F17-A4C8-99EC8038EDC8}"/>
              </a:ext>
            </a:extLst>
          </p:cNvPr>
          <p:cNvGrpSpPr/>
          <p:nvPr/>
        </p:nvGrpSpPr>
        <p:grpSpPr>
          <a:xfrm>
            <a:off x="1005636" y="1326234"/>
            <a:ext cx="3215705" cy="2195035"/>
            <a:chOff x="6923911" y="2913197"/>
            <a:chExt cx="2069747" cy="3602523"/>
          </a:xfrm>
        </p:grpSpPr>
        <p:sp>
          <p:nvSpPr>
            <p:cNvPr id="44" name="AutoShape 7">
              <a:extLst>
                <a:ext uri="{FF2B5EF4-FFF2-40B4-BE49-F238E27FC236}">
                  <a16:creationId xmlns:a16="http://schemas.microsoft.com/office/drawing/2014/main" id="{A771C652-5148-47D6-B883-88A0C4DCFC98}"/>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5" name="Group 18">
              <a:extLst>
                <a:ext uri="{FF2B5EF4-FFF2-40B4-BE49-F238E27FC236}">
                  <a16:creationId xmlns:a16="http://schemas.microsoft.com/office/drawing/2014/main" id="{9E45C655-8D16-4F88-8DD5-3E25BC294A2D}"/>
                </a:ext>
              </a:extLst>
            </p:cNvPr>
            <p:cNvGrpSpPr/>
            <p:nvPr/>
          </p:nvGrpSpPr>
          <p:grpSpPr>
            <a:xfrm>
              <a:off x="7015881" y="3411294"/>
              <a:ext cx="1923980" cy="2239177"/>
              <a:chOff x="-71729" y="-375718"/>
              <a:chExt cx="2565307" cy="2985567"/>
            </a:xfrm>
          </p:grpSpPr>
          <p:sp>
            <p:nvSpPr>
              <p:cNvPr id="46" name="TextBox 19">
                <a:extLst>
                  <a:ext uri="{FF2B5EF4-FFF2-40B4-BE49-F238E27FC236}">
                    <a16:creationId xmlns:a16="http://schemas.microsoft.com/office/drawing/2014/main" id="{8C94B04B-A0C2-4895-9335-347173C92502}"/>
                  </a:ext>
                </a:extLst>
              </p:cNvPr>
              <p:cNvSpPr txBox="1"/>
              <p:nvPr/>
            </p:nvSpPr>
            <p:spPr>
              <a:xfrm>
                <a:off x="0" y="-375718"/>
                <a:ext cx="2370951" cy="549212"/>
              </a:xfrm>
              <a:prstGeom prst="rect">
                <a:avLst/>
              </a:prstGeom>
            </p:spPr>
            <p:txBody>
              <a:bodyPr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ELECOM</a:t>
                </a:r>
              </a:p>
            </p:txBody>
          </p:sp>
          <p:sp>
            <p:nvSpPr>
              <p:cNvPr id="47" name="TextBox 20">
                <a:extLst>
                  <a:ext uri="{FF2B5EF4-FFF2-40B4-BE49-F238E27FC236}">
                    <a16:creationId xmlns:a16="http://schemas.microsoft.com/office/drawing/2014/main" id="{46E383B5-F173-4214-960F-CFC6C1CB4C5B}"/>
                  </a:ext>
                </a:extLst>
              </p:cNvPr>
              <p:cNvSpPr txBox="1"/>
              <p:nvPr/>
            </p:nvSpPr>
            <p:spPr>
              <a:xfrm>
                <a:off x="-71729" y="517608"/>
                <a:ext cx="2565307" cy="2092241"/>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have delivered exceptional services to multiple telecom operators in Middle East and Pakistan</a:t>
                </a:r>
              </a:p>
            </p:txBody>
          </p:sp>
        </p:grpSp>
      </p:grpSp>
      <p:grpSp>
        <p:nvGrpSpPr>
          <p:cNvPr id="48" name="Group 47">
            <a:extLst>
              <a:ext uri="{FF2B5EF4-FFF2-40B4-BE49-F238E27FC236}">
                <a16:creationId xmlns:a16="http://schemas.microsoft.com/office/drawing/2014/main" id="{0ECA5EFB-7F59-4E50-8ED0-930A89CBB776}"/>
              </a:ext>
            </a:extLst>
          </p:cNvPr>
          <p:cNvGrpSpPr/>
          <p:nvPr/>
        </p:nvGrpSpPr>
        <p:grpSpPr>
          <a:xfrm>
            <a:off x="1000155" y="4017074"/>
            <a:ext cx="3221177" cy="2195035"/>
            <a:chOff x="6920388" y="2913197"/>
            <a:chExt cx="2073270" cy="3602523"/>
          </a:xfrm>
        </p:grpSpPr>
        <p:sp>
          <p:nvSpPr>
            <p:cNvPr id="49" name="AutoShape 7">
              <a:extLst>
                <a:ext uri="{FF2B5EF4-FFF2-40B4-BE49-F238E27FC236}">
                  <a16:creationId xmlns:a16="http://schemas.microsoft.com/office/drawing/2014/main" id="{0C6036C4-78CD-4AA0-93AD-A69B49C89810}"/>
                </a:ext>
              </a:extLst>
            </p:cNvPr>
            <p:cNvSpPr/>
            <p:nvPr/>
          </p:nvSpPr>
          <p:spPr>
            <a:xfrm>
              <a:off x="6923911" y="2913197"/>
              <a:ext cx="2069747" cy="3602523"/>
            </a:xfrm>
            <a:prstGeom prst="rect">
              <a:avLst/>
            </a:prstGeom>
            <a:solidFill>
              <a:schemeClr val="tx1">
                <a:alpha val="75000"/>
              </a:schemeClr>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18">
              <a:extLst>
                <a:ext uri="{FF2B5EF4-FFF2-40B4-BE49-F238E27FC236}">
                  <a16:creationId xmlns:a16="http://schemas.microsoft.com/office/drawing/2014/main" id="{39688456-0C28-410F-9139-629DB9169B2C}"/>
                </a:ext>
              </a:extLst>
            </p:cNvPr>
            <p:cNvGrpSpPr/>
            <p:nvPr/>
          </p:nvGrpSpPr>
          <p:grpSpPr>
            <a:xfrm>
              <a:off x="6920388" y="3164669"/>
              <a:ext cx="2069747" cy="2666054"/>
              <a:chOff x="-199053" y="-704552"/>
              <a:chExt cx="2759662" cy="3554739"/>
            </a:xfrm>
          </p:grpSpPr>
          <p:sp>
            <p:nvSpPr>
              <p:cNvPr id="51" name="TextBox 19">
                <a:extLst>
                  <a:ext uri="{FF2B5EF4-FFF2-40B4-BE49-F238E27FC236}">
                    <a16:creationId xmlns:a16="http://schemas.microsoft.com/office/drawing/2014/main" id="{351F90E5-632C-4FB5-BA72-B4807999529E}"/>
                  </a:ext>
                </a:extLst>
              </p:cNvPr>
              <p:cNvSpPr txBox="1"/>
              <p:nvPr/>
            </p:nvSpPr>
            <p:spPr>
              <a:xfrm>
                <a:off x="-199053" y="-704552"/>
                <a:ext cx="2759662" cy="1099213"/>
              </a:xfrm>
              <a:prstGeom prst="rect">
                <a:avLst/>
              </a:prstGeom>
            </p:spPr>
            <p:txBody>
              <a:bodyPr wrap="square" lIns="0" tIns="0" rIns="0" bIns="0" rtlCol="0" anchor="t">
                <a:spAutoFit/>
              </a:bodyPr>
              <a:lstStyle/>
              <a:p>
                <a:pPr marL="0" marR="0" lvl="0" indent="0" algn="ctr" defTabSz="857250" rtl="0" eaLnBrk="1" fontAlgn="auto" latinLnBrk="0" hangingPunct="1">
                  <a:lnSpc>
                    <a:spcPts val="2099"/>
                  </a:lnSpc>
                  <a:spcBef>
                    <a:spcPts val="0"/>
                  </a:spcBef>
                  <a:spcAft>
                    <a:spcPts val="0"/>
                  </a:spcAft>
                  <a:buClrTx/>
                  <a:buSzTx/>
                  <a:buFontTx/>
                  <a:buNone/>
                  <a:tabLst/>
                  <a:defRPr/>
                </a:pPr>
                <a:r>
                  <a:rPr kumimoji="0" lang="en-US" sz="2000" b="1" i="0" u="none" strike="noStrike" kern="1200" cap="none" spc="104"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ORMATION TECHNOLOGY</a:t>
                </a:r>
              </a:p>
            </p:txBody>
          </p:sp>
          <p:sp>
            <p:nvSpPr>
              <p:cNvPr id="52" name="TextBox 20">
                <a:extLst>
                  <a:ext uri="{FF2B5EF4-FFF2-40B4-BE49-F238E27FC236}">
                    <a16:creationId xmlns:a16="http://schemas.microsoft.com/office/drawing/2014/main" id="{63C872AE-64B9-4886-8C89-6C8C346527CB}"/>
                  </a:ext>
                </a:extLst>
              </p:cNvPr>
              <p:cNvSpPr txBox="1"/>
              <p:nvPr/>
            </p:nvSpPr>
            <p:spPr>
              <a:xfrm>
                <a:off x="-118982" y="757945"/>
                <a:ext cx="2565307" cy="2092242"/>
              </a:xfrm>
              <a:prstGeom prst="rect">
                <a:avLst/>
              </a:prstGeom>
            </p:spPr>
            <p:txBody>
              <a:bodyPr wrap="square" lIns="0" tIns="0" rIns="0" bIns="0" rtlCol="0" anchor="t">
                <a:spAutoFit/>
              </a:bodyPr>
              <a:lstStyle/>
              <a:p>
                <a:pPr marL="0" marR="0" lvl="0" indent="0" algn="ctr"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mpanies like application developers, service providers also need our expertise and experience</a:t>
                </a:r>
              </a:p>
            </p:txBody>
          </p:sp>
        </p:grpSp>
      </p:grpSp>
      <p:sp>
        <p:nvSpPr>
          <p:cNvPr id="17" name="Freeform 11">
            <a:extLst>
              <a:ext uri="{FF2B5EF4-FFF2-40B4-BE49-F238E27FC236}">
                <a16:creationId xmlns:a16="http://schemas.microsoft.com/office/drawing/2014/main" id="{0D78C49B-8DCD-D14E-6C0F-6BCAAEC3573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Freeform 12">
            <a:extLst>
              <a:ext uri="{FF2B5EF4-FFF2-40B4-BE49-F238E27FC236}">
                <a16:creationId xmlns:a16="http://schemas.microsoft.com/office/drawing/2014/main" id="{A535B1F7-CC02-EEBE-3D1D-FEA74F847A1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Freeform: Shape 3">
            <a:extLst>
              <a:ext uri="{FF2B5EF4-FFF2-40B4-BE49-F238E27FC236}">
                <a16:creationId xmlns:a16="http://schemas.microsoft.com/office/drawing/2014/main" id="{94A0893C-A1D1-32FE-D5A9-8563AD455AFF}"/>
              </a:ext>
            </a:extLst>
          </p:cNvPr>
          <p:cNvSpPr>
            <a:spLocks noGrp="1" noRot="1" noMove="1" noResize="1" noEditPoints="1" noAdjustHandles="1" noChangeArrowheads="1" noChangeShapeType="1"/>
          </p:cNvSpPr>
          <p:nvPr/>
        </p:nvSpPr>
        <p:spPr>
          <a:xfrm>
            <a:off x="-11034" y="6286791"/>
            <a:ext cx="12203034" cy="571209"/>
          </a:xfrm>
          <a:custGeom>
            <a:avLst/>
            <a:gdLst>
              <a:gd name="connsiteX0" fmla="*/ 0 w 12023681"/>
              <a:gd name="connsiteY0" fmla="*/ 0 h 743804"/>
              <a:gd name="connsiteX1" fmla="*/ 2811357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0" fmla="*/ 0 w 12023681"/>
              <a:gd name="connsiteY0" fmla="*/ 0 h 743804"/>
              <a:gd name="connsiteX1" fmla="*/ 1856013 w 12023681"/>
              <a:gd name="connsiteY1" fmla="*/ 0 h 743804"/>
              <a:gd name="connsiteX2" fmla="*/ 3172004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856013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705887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2052887 w 12023681"/>
              <a:gd name="connsiteY2" fmla="*/ 409434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 name="connsiteX0" fmla="*/ 0 w 12023681"/>
              <a:gd name="connsiteY0" fmla="*/ 0 h 743804"/>
              <a:gd name="connsiteX1" fmla="*/ 1419284 w 12023681"/>
              <a:gd name="connsiteY1" fmla="*/ 0 h 743804"/>
              <a:gd name="connsiteX2" fmla="*/ 1670750 w 12023681"/>
              <a:gd name="connsiteY2" fmla="*/ 409433 h 743804"/>
              <a:gd name="connsiteX3" fmla="*/ 12023681 w 12023681"/>
              <a:gd name="connsiteY3" fmla="*/ 409434 h 743804"/>
              <a:gd name="connsiteX4" fmla="*/ 12023681 w 12023681"/>
              <a:gd name="connsiteY4" fmla="*/ 743804 h 743804"/>
              <a:gd name="connsiteX5" fmla="*/ 2770499 w 12023681"/>
              <a:gd name="connsiteY5" fmla="*/ 743804 h 743804"/>
              <a:gd name="connsiteX6" fmla="*/ 2770499 w 12023681"/>
              <a:gd name="connsiteY6" fmla="*/ 743803 h 743804"/>
              <a:gd name="connsiteX7" fmla="*/ 0 w 12023681"/>
              <a:gd name="connsiteY7" fmla="*/ 743803 h 743804"/>
              <a:gd name="connsiteX8" fmla="*/ 0 w 12023681"/>
              <a:gd name="connsiteY8" fmla="*/ 0 h 743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3681" h="743804">
                <a:moveTo>
                  <a:pt x="0" y="0"/>
                </a:moveTo>
                <a:lnTo>
                  <a:pt x="1419284" y="0"/>
                </a:lnTo>
                <a:lnTo>
                  <a:pt x="1670750" y="409433"/>
                </a:lnTo>
                <a:lnTo>
                  <a:pt x="12023681" y="409434"/>
                </a:lnTo>
                <a:lnTo>
                  <a:pt x="12023681" y="743804"/>
                </a:lnTo>
                <a:lnTo>
                  <a:pt x="2770499" y="743804"/>
                </a:lnTo>
                <a:lnTo>
                  <a:pt x="2770499" y="743803"/>
                </a:lnTo>
                <a:lnTo>
                  <a:pt x="0" y="743803"/>
                </a:lnTo>
                <a:lnTo>
                  <a:pt x="0"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descr="Logo&#10;&#10;Description automatically generated">
            <a:extLst>
              <a:ext uri="{FF2B5EF4-FFF2-40B4-BE49-F238E27FC236}">
                <a16:creationId xmlns:a16="http://schemas.microsoft.com/office/drawing/2014/main" id="{3E3C38B4-2454-9FBE-97BB-EFAFE1F7FFFB}"/>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3" name="Slide Number Placeholder 4">
            <a:extLst>
              <a:ext uri="{FF2B5EF4-FFF2-40B4-BE49-F238E27FC236}">
                <a16:creationId xmlns:a16="http://schemas.microsoft.com/office/drawing/2014/main" id="{74B625D7-6612-B2E1-CE75-15A66B59F146}"/>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9461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
            <a:extLst>
              <a:ext uri="{FF2B5EF4-FFF2-40B4-BE49-F238E27FC236}">
                <a16:creationId xmlns:a16="http://schemas.microsoft.com/office/drawing/2014/main" id="{0F0EE7CA-8F7B-8E2E-EA6E-02F40B282D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169566" y="331759"/>
            <a:ext cx="2318575" cy="692481"/>
          </a:xfrm>
          <a:prstGeom prst="rect">
            <a:avLst/>
          </a:prstGeom>
        </p:spPr>
      </p:pic>
      <p:pic>
        <p:nvPicPr>
          <p:cNvPr id="98" name="Picture 15">
            <a:extLst>
              <a:ext uri="{FF2B5EF4-FFF2-40B4-BE49-F238E27FC236}">
                <a16:creationId xmlns:a16="http://schemas.microsoft.com/office/drawing/2014/main" id="{5FD19C19-91FB-3E39-2BBB-12AA08914BB2}"/>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p:blipFill>
        <p:spPr>
          <a:xfrm>
            <a:off x="637125" y="3730023"/>
            <a:ext cx="2849927" cy="893798"/>
          </a:xfrm>
          <a:prstGeom prst="rect">
            <a:avLst/>
          </a:prstGeom>
        </p:spPr>
      </p:pic>
      <p:pic>
        <p:nvPicPr>
          <p:cNvPr id="102" name="Picture 21">
            <a:extLst>
              <a:ext uri="{FF2B5EF4-FFF2-40B4-BE49-F238E27FC236}">
                <a16:creationId xmlns:a16="http://schemas.microsoft.com/office/drawing/2014/main" id="{F10EEDE0-4641-4136-BF32-DCF8E7AC595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144449" y="5277495"/>
            <a:ext cx="2621759" cy="739795"/>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16" name="Picture 115">
            <a:extLst>
              <a:ext uri="{FF2B5EF4-FFF2-40B4-BE49-F238E27FC236}">
                <a16:creationId xmlns:a16="http://schemas.microsoft.com/office/drawing/2014/main" id="{ED430214-44F2-0FB1-E669-B3DF57B24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9945" y="51749"/>
            <a:ext cx="1424257" cy="1424257"/>
          </a:xfrm>
          <a:prstGeom prst="rect">
            <a:avLst/>
          </a:prstGeom>
        </p:spPr>
      </p:pic>
      <p:pic>
        <p:nvPicPr>
          <p:cNvPr id="117" name="Picture 116">
            <a:extLst>
              <a:ext uri="{FF2B5EF4-FFF2-40B4-BE49-F238E27FC236}">
                <a16:creationId xmlns:a16="http://schemas.microsoft.com/office/drawing/2014/main" id="{300C6210-9E7E-4417-7E8F-13AC2F35BD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7680" y="4125907"/>
            <a:ext cx="1187935" cy="842723"/>
          </a:xfrm>
          <a:prstGeom prst="rect">
            <a:avLst/>
          </a:prstGeom>
        </p:spPr>
      </p:pic>
      <p:pic>
        <p:nvPicPr>
          <p:cNvPr id="120" name="Picture 119">
            <a:extLst>
              <a:ext uri="{FF2B5EF4-FFF2-40B4-BE49-F238E27FC236}">
                <a16:creationId xmlns:a16="http://schemas.microsoft.com/office/drawing/2014/main" id="{B307E66C-49B9-E2F3-333B-8B08124183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53341" y="4287027"/>
            <a:ext cx="2223284" cy="779457"/>
          </a:xfrm>
          <a:prstGeom prst="rect">
            <a:avLst/>
          </a:prstGeom>
        </p:spPr>
      </p:pic>
      <p:pic>
        <p:nvPicPr>
          <p:cNvPr id="96" name="Picture 10">
            <a:extLst>
              <a:ext uri="{FF2B5EF4-FFF2-40B4-BE49-F238E27FC236}">
                <a16:creationId xmlns:a16="http://schemas.microsoft.com/office/drawing/2014/main" id="{E9DD5936-4414-894A-3CEA-15497C198B6F}"/>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l="13487" t="7983" r="9576" b="-1"/>
          <a:stretch/>
        </p:blipFill>
        <p:spPr>
          <a:xfrm>
            <a:off x="1347581" y="2543886"/>
            <a:ext cx="1526391" cy="1064925"/>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0842" y="1414153"/>
            <a:ext cx="2280629" cy="1186166"/>
            <a:chOff x="-23164" y="-349664"/>
            <a:chExt cx="2696266" cy="1686991"/>
          </a:xfrm>
        </p:grpSpPr>
        <p:sp>
          <p:nvSpPr>
            <p:cNvPr id="133" name="TextBox 5">
              <a:extLst>
                <a:ext uri="{FF2B5EF4-FFF2-40B4-BE49-F238E27FC236}">
                  <a16:creationId xmlns:a16="http://schemas.microsoft.com/office/drawing/2014/main" id="{766C6454-A9E1-8C20-5F67-F61D5F965F36}"/>
                </a:ext>
              </a:extLst>
            </p:cNvPr>
            <p:cNvSpPr txBox="1"/>
            <p:nvPr/>
          </p:nvSpPr>
          <p:spPr>
            <a:xfrm>
              <a:off x="-23164" y="-34966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Banking Sector</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94" name="Picture 6">
            <a:extLst>
              <a:ext uri="{FF2B5EF4-FFF2-40B4-BE49-F238E27FC236}">
                <a16:creationId xmlns:a16="http://schemas.microsoft.com/office/drawing/2014/main" id="{2EEFA0A9-54C0-C7F8-EF72-6C52BA968127}"/>
              </a:ext>
            </a:extLst>
          </p:cNvPr>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4171545" y="3262166"/>
            <a:ext cx="1713599" cy="935715"/>
          </a:xfrm>
          <a:prstGeom prst="rect">
            <a:avLst/>
          </a:prstGeom>
        </p:spPr>
      </p:pic>
      <p:pic>
        <p:nvPicPr>
          <p:cNvPr id="97" name="Picture 11">
            <a:extLst>
              <a:ext uri="{FF2B5EF4-FFF2-40B4-BE49-F238E27FC236}">
                <a16:creationId xmlns:a16="http://schemas.microsoft.com/office/drawing/2014/main" id="{F21F1F1D-19DB-F157-EA8A-2C98A689EB90}"/>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a:xfrm>
            <a:off x="585503" y="1520116"/>
            <a:ext cx="2901549" cy="740191"/>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3" name="Picture 2" descr="Home">
            <a:extLst>
              <a:ext uri="{FF2B5EF4-FFF2-40B4-BE49-F238E27FC236}">
                <a16:creationId xmlns:a16="http://schemas.microsoft.com/office/drawing/2014/main" id="{288C5A3A-18E2-0518-7D35-1D3A7BD32B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7381" y="422733"/>
            <a:ext cx="2849928" cy="60578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a:extLst>
              <a:ext uri="{FF2B5EF4-FFF2-40B4-BE49-F238E27FC236}">
                <a16:creationId xmlns:a16="http://schemas.microsoft.com/office/drawing/2014/main" id="{4D2B52CB-5E96-EEA5-05D3-C3F4118A554D}"/>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a:xfrm>
            <a:off x="5614353" y="5206594"/>
            <a:ext cx="2750518" cy="765538"/>
          </a:xfrm>
          <a:prstGeom prst="rect">
            <a:avLst/>
          </a:prstGeom>
        </p:spPr>
      </p:pic>
      <p:pic>
        <p:nvPicPr>
          <p:cNvPr id="107" name="Picture 2">
            <a:extLst>
              <a:ext uri="{FF2B5EF4-FFF2-40B4-BE49-F238E27FC236}">
                <a16:creationId xmlns:a16="http://schemas.microsoft.com/office/drawing/2014/main" id="{3D4385F2-9782-6D7C-6D22-D6285DF81F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39948" y="2841905"/>
            <a:ext cx="1654644" cy="1046039"/>
          </a:xfrm>
          <a:prstGeom prst="rect">
            <a:avLst/>
          </a:prstGeom>
          <a:noFill/>
          <a:ln w="9525">
            <a:noFill/>
            <a:miter lim="800000"/>
            <a:headEnd/>
            <a:tailEnd/>
          </a:ln>
        </p:spPr>
      </p:pic>
      <p:pic>
        <p:nvPicPr>
          <p:cNvPr id="1026" name="Picture 2" descr="BankIslami - Wikipedia">
            <a:extLst>
              <a:ext uri="{FF2B5EF4-FFF2-40B4-BE49-F238E27FC236}">
                <a16:creationId xmlns:a16="http://schemas.microsoft.com/office/drawing/2014/main" id="{68CAAE48-8F5D-BD22-A37B-D87445122E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48222" y="1281252"/>
            <a:ext cx="1290449" cy="16700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hushhali Microfinance Bank - Wikipedia">
            <a:extLst>
              <a:ext uri="{FF2B5EF4-FFF2-40B4-BE49-F238E27FC236}">
                <a16:creationId xmlns:a16="http://schemas.microsoft.com/office/drawing/2014/main" id="{C60CFFA0-F446-AA09-6D29-30B77F65AEC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21236" y="1590276"/>
            <a:ext cx="1844622" cy="137086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ocial Development Bank - Head Office - AHC">
            <a:extLst>
              <a:ext uri="{FF2B5EF4-FFF2-40B4-BE49-F238E27FC236}">
                <a16:creationId xmlns:a16="http://schemas.microsoft.com/office/drawing/2014/main" id="{345B0F0C-69F7-8C7F-68E1-9EC64C91DF2B}"/>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73435" y="5246622"/>
            <a:ext cx="1193285" cy="1193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257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pic>
        <p:nvPicPr>
          <p:cNvPr id="111" name="Picture 8">
            <a:extLst>
              <a:ext uri="{FF2B5EF4-FFF2-40B4-BE49-F238E27FC236}">
                <a16:creationId xmlns:a16="http://schemas.microsoft.com/office/drawing/2014/main" id="{36715BDF-DCE2-19DF-8960-4A7086BCD71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77318" y="4175104"/>
            <a:ext cx="1842045" cy="2064967"/>
          </a:xfrm>
          <a:prstGeom prst="rect">
            <a:avLst/>
          </a:prstGeom>
          <a:noFill/>
          <a:ln w="9525">
            <a:noFill/>
            <a:miter lim="800000"/>
            <a:headEnd/>
            <a:tailEnd/>
          </a:ln>
        </p:spPr>
      </p:pic>
      <p:pic>
        <p:nvPicPr>
          <p:cNvPr id="122" name="Picture 121">
            <a:extLst>
              <a:ext uri="{FF2B5EF4-FFF2-40B4-BE49-F238E27FC236}">
                <a16:creationId xmlns:a16="http://schemas.microsoft.com/office/drawing/2014/main" id="{1831CBD3-73DF-14F3-4A95-A510BD31F5A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231920" y="4357060"/>
            <a:ext cx="2116426" cy="1635420"/>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latin typeface="Calibri"/>
                <a:ea typeface="+mn-ea"/>
                <a:cs typeface="Calibri" panose="020F0502020204030204" pitchFamily="34" charset="0"/>
              </a:rPr>
              <a:t>Our selected esteemed partners (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8956143" y="1349354"/>
            <a:ext cx="2977053" cy="1250965"/>
            <a:chOff x="-194234" y="-441823"/>
            <a:chExt cx="3519612" cy="1779150"/>
          </a:xfrm>
        </p:grpSpPr>
        <p:sp>
          <p:nvSpPr>
            <p:cNvPr id="133" name="TextBox 5">
              <a:extLst>
                <a:ext uri="{FF2B5EF4-FFF2-40B4-BE49-F238E27FC236}">
                  <a16:creationId xmlns:a16="http://schemas.microsoft.com/office/drawing/2014/main" id="{766C6454-A9E1-8C20-5F67-F61D5F965F36}"/>
                </a:ext>
              </a:extLst>
            </p:cNvPr>
            <p:cNvSpPr txBox="1"/>
            <p:nvPr/>
          </p:nvSpPr>
          <p:spPr>
            <a:xfrm>
              <a:off x="-194234" y="-441823"/>
              <a:ext cx="3519612" cy="1609650"/>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3600" b="1" spc="-45">
                  <a:solidFill>
                    <a:prstClr val="white"/>
                  </a:solidFill>
                  <a:latin typeface="+mj-lt"/>
                </a:rPr>
                <a:t>TELECOMMUNICATION</a:t>
              </a:r>
              <a:r>
                <a:rPr kumimoji="0" lang="en-US" sz="3600" b="1" i="0" u="none" strike="noStrike" kern="1200" cap="none" spc="-45" normalizeH="0" baseline="0" noProof="0">
                  <a:ln>
                    <a:noFill/>
                  </a:ln>
                  <a:solidFill>
                    <a:prstClr val="white"/>
                  </a:solidFill>
                  <a:effectLst/>
                  <a:uLnTx/>
                  <a:uFillTx/>
                  <a:latin typeface="+mj-lt"/>
                  <a:ea typeface="+mn-ea"/>
                  <a:cs typeface="+mn-cs"/>
                </a:rPr>
                <a:t> SECTOR</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Picture 9">
            <a:extLst>
              <a:ext uri="{FF2B5EF4-FFF2-40B4-BE49-F238E27FC236}">
                <a16:creationId xmlns:a16="http://schemas.microsoft.com/office/drawing/2014/main" id="{13B1FBD0-4E34-FD59-6861-B1D8255FC8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8594" y="1757732"/>
            <a:ext cx="1554646" cy="1201751"/>
          </a:xfrm>
          <a:prstGeom prst="rect">
            <a:avLst/>
          </a:prstGeom>
          <a:noFill/>
          <a:ln w="9525">
            <a:noFill/>
            <a:miter lim="800000"/>
            <a:headEnd/>
            <a:tailEnd/>
          </a:ln>
        </p:spPr>
      </p:pic>
      <p:pic>
        <p:nvPicPr>
          <p:cNvPr id="3074" name="Picture 2">
            <a:extLst>
              <a:ext uri="{FF2B5EF4-FFF2-40B4-BE49-F238E27FC236}">
                <a16:creationId xmlns:a16="http://schemas.microsoft.com/office/drawing/2014/main" id="{464D812F-0982-5F57-47D4-AD14464D751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9794" y="2015463"/>
            <a:ext cx="2921685" cy="175301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765FD1A-83B4-F5BD-2F7C-A017F59D0500}"/>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923201" y="345741"/>
            <a:ext cx="3533991" cy="20128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Jazz logo vector - (.Ai .PNG .SVG .EPS Free Download)">
            <a:extLst>
              <a:ext uri="{FF2B5EF4-FFF2-40B4-BE49-F238E27FC236}">
                <a16:creationId xmlns:a16="http://schemas.microsoft.com/office/drawing/2014/main" id="{D179934D-FBAA-592B-F5B5-65FDF770254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88197" y="3374756"/>
            <a:ext cx="2743200" cy="2743200"/>
          </a:xfrm>
          <a:prstGeom prst="rect">
            <a:avLst/>
          </a:prstGeom>
        </p:spPr>
      </p:pic>
      <p:pic>
        <p:nvPicPr>
          <p:cNvPr id="7" name="Picture 6" descr="PTCL Reports Growth in DSL, Corporate and Wholesale Businesses">
            <a:extLst>
              <a:ext uri="{FF2B5EF4-FFF2-40B4-BE49-F238E27FC236}">
                <a16:creationId xmlns:a16="http://schemas.microsoft.com/office/drawing/2014/main" id="{879FD8E4-7D8D-0F9E-7D2C-51EBBC6C3B5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Lst>
          </a:blip>
          <a:stretch>
            <a:fillRect/>
          </a:stretch>
        </p:blipFill>
        <p:spPr>
          <a:xfrm>
            <a:off x="419100" y="544512"/>
            <a:ext cx="2606040" cy="1623695"/>
          </a:xfrm>
          <a:prstGeom prst="rect">
            <a:avLst/>
          </a:prstGeom>
        </p:spPr>
      </p:pic>
      <p:pic>
        <p:nvPicPr>
          <p:cNvPr id="9" name="Picture 8" descr="Telstra Logo y símbolo, significado, historia, PNG, marca">
            <a:extLst>
              <a:ext uri="{FF2B5EF4-FFF2-40B4-BE49-F238E27FC236}">
                <a16:creationId xmlns:a16="http://schemas.microsoft.com/office/drawing/2014/main" id="{A2D5AE37-76CF-975B-4598-AACCD49D8AAA}"/>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a:off x="5638800" y="2702560"/>
            <a:ext cx="1994288" cy="1064390"/>
          </a:xfrm>
          <a:prstGeom prst="rect">
            <a:avLst/>
          </a:prstGeom>
        </p:spPr>
      </p:pic>
    </p:spTree>
    <p:extLst>
      <p:ext uri="{BB962C8B-B14F-4D97-AF65-F5344CB8AC3E}">
        <p14:creationId xmlns:p14="http://schemas.microsoft.com/office/powerpoint/2010/main" val="302496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18">
            <a:extLst>
              <a:ext uri="{FF2B5EF4-FFF2-40B4-BE49-F238E27FC236}">
                <a16:creationId xmlns:a16="http://schemas.microsoft.com/office/drawing/2014/main" id="{F214638A-3055-8411-B5E0-D3FD9A90D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12934" y="962871"/>
            <a:ext cx="2293833" cy="693884"/>
          </a:xfrm>
          <a:prstGeom prst="rect">
            <a:avLst/>
          </a:prstGeom>
        </p:spPr>
      </p:pic>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20435" y="1720286"/>
            <a:ext cx="2280629" cy="880033"/>
            <a:chOff x="0" y="85725"/>
            <a:chExt cx="2696266" cy="1251602"/>
          </a:xfrm>
        </p:grpSpPr>
        <p:sp>
          <p:nvSpPr>
            <p:cNvPr id="133" name="TextBox 5">
              <a:extLst>
                <a:ext uri="{FF2B5EF4-FFF2-40B4-BE49-F238E27FC236}">
                  <a16:creationId xmlns:a16="http://schemas.microsoft.com/office/drawing/2014/main" id="{766C6454-A9E1-8C20-5F67-F61D5F965F36}"/>
                </a:ext>
              </a:extLst>
            </p:cNvPr>
            <p:cNvSpPr txBox="1"/>
            <p:nvPr/>
          </p:nvSpPr>
          <p:spPr>
            <a:xfrm>
              <a:off x="0" y="85725"/>
              <a:ext cx="2696266" cy="820737"/>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4000" b="1" i="0" u="none" strike="noStrike" kern="1200" cap="none" spc="-45" normalizeH="0" baseline="0" noProof="0">
                  <a:ln>
                    <a:noFill/>
                  </a:ln>
                  <a:solidFill>
                    <a:prstClr val="white"/>
                  </a:solidFill>
                  <a:effectLst/>
                  <a:uLnTx/>
                  <a:uFillTx/>
                  <a:ea typeface="+mn-ea"/>
                  <a:cs typeface="+mn-cs"/>
                </a:rPr>
                <a:t>Fintech </a:t>
              </a: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4" name="Picture 3" descr="A picture containing text, plate, dishware, tableware&#10;&#10;Description automatically generated">
            <a:extLst>
              <a:ext uri="{FF2B5EF4-FFF2-40B4-BE49-F238E27FC236}">
                <a16:creationId xmlns:a16="http://schemas.microsoft.com/office/drawing/2014/main" id="{FBFD65EF-7F69-3C26-DE09-9641F0A607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5292" y="2193136"/>
            <a:ext cx="1565812" cy="923829"/>
          </a:xfrm>
          <a:prstGeom prst="rect">
            <a:avLst/>
          </a:prstGeom>
        </p:spPr>
      </p:pic>
      <p:pic>
        <p:nvPicPr>
          <p:cNvPr id="6" name="Picture 5" descr="Text, logo&#10;&#10;Description automatically generated">
            <a:extLst>
              <a:ext uri="{FF2B5EF4-FFF2-40B4-BE49-F238E27FC236}">
                <a16:creationId xmlns:a16="http://schemas.microsoft.com/office/drawing/2014/main" id="{5E4AF7D5-A1A0-75A7-30AD-DFB4BBF874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4838" y="3227106"/>
            <a:ext cx="2155386" cy="610539"/>
          </a:xfrm>
          <a:prstGeom prst="rect">
            <a:avLst/>
          </a:prstGeom>
        </p:spPr>
      </p:pic>
      <p:grpSp>
        <p:nvGrpSpPr>
          <p:cNvPr id="5" name="Group 4">
            <a:extLst>
              <a:ext uri="{FF2B5EF4-FFF2-40B4-BE49-F238E27FC236}">
                <a16:creationId xmlns:a16="http://schemas.microsoft.com/office/drawing/2014/main" id="{6DC16425-C375-F3BE-D70C-043E539215D0}"/>
              </a:ext>
            </a:extLst>
          </p:cNvPr>
          <p:cNvGrpSpPr/>
          <p:nvPr/>
        </p:nvGrpSpPr>
        <p:grpSpPr>
          <a:xfrm>
            <a:off x="296128" y="242935"/>
            <a:ext cx="3019382" cy="774966"/>
            <a:chOff x="5302655" y="2932845"/>
            <a:chExt cx="2714667" cy="646246"/>
          </a:xfrm>
        </p:grpSpPr>
        <p:pic>
          <p:nvPicPr>
            <p:cNvPr id="8" name="Picture 7" descr="Logo&#10;&#10;Description automatically generated">
              <a:extLst>
                <a:ext uri="{FF2B5EF4-FFF2-40B4-BE49-F238E27FC236}">
                  <a16:creationId xmlns:a16="http://schemas.microsoft.com/office/drawing/2014/main" id="{6C51DB57-E74F-79B0-1C7D-3B5D6FADAF97}"/>
                </a:ext>
              </a:extLst>
            </p:cNvPr>
            <p:cNvPicPr>
              <a:picLocks noChangeAspect="1"/>
            </p:cNvPicPr>
            <p:nvPr/>
          </p:nvPicPr>
          <p:blipFill rotWithShape="1">
            <a:blip r:embed="rId6">
              <a:extLst>
                <a:ext uri="{28A0092B-C50C-407E-A947-70E740481C1C}">
                  <a14:useLocalDpi xmlns:a14="http://schemas.microsoft.com/office/drawing/2010/main" val="0"/>
                </a:ext>
              </a:extLst>
            </a:blip>
            <a:srcRect t="61578" b="19130"/>
            <a:stretch/>
          </p:blipFill>
          <p:spPr>
            <a:xfrm>
              <a:off x="5302655" y="3077525"/>
              <a:ext cx="2143125" cy="413449"/>
            </a:xfrm>
            <a:prstGeom prst="rect">
              <a:avLst/>
            </a:prstGeom>
          </p:spPr>
        </p:pic>
        <p:pic>
          <p:nvPicPr>
            <p:cNvPr id="9" name="Picture 8" descr="Logo&#10;&#10;Description automatically generated">
              <a:extLst>
                <a:ext uri="{FF2B5EF4-FFF2-40B4-BE49-F238E27FC236}">
                  <a16:creationId xmlns:a16="http://schemas.microsoft.com/office/drawing/2014/main" id="{88475AC3-C1AD-97A1-CBA9-5D994A5C6DC3}"/>
                </a:ext>
              </a:extLst>
            </p:cNvPr>
            <p:cNvPicPr>
              <a:picLocks noChangeAspect="1"/>
            </p:cNvPicPr>
            <p:nvPr/>
          </p:nvPicPr>
          <p:blipFill rotWithShape="1">
            <a:blip r:embed="rId6">
              <a:extLst>
                <a:ext uri="{28A0092B-C50C-407E-A947-70E740481C1C}">
                  <a14:useLocalDpi xmlns:a14="http://schemas.microsoft.com/office/drawing/2010/main" val="0"/>
                </a:ext>
              </a:extLst>
            </a:blip>
            <a:srcRect l="26662" t="15801" r="26941" b="38421"/>
            <a:stretch/>
          </p:blipFill>
          <p:spPr>
            <a:xfrm>
              <a:off x="7362333" y="2932845"/>
              <a:ext cx="654989" cy="646246"/>
            </a:xfrm>
            <a:prstGeom prst="rect">
              <a:avLst/>
            </a:prstGeom>
          </p:spPr>
        </p:pic>
      </p:grpSp>
      <p:pic>
        <p:nvPicPr>
          <p:cNvPr id="11" name="Picture 10" descr="A picture containing text, sign, tableware&#10;&#10;Description automatically generated">
            <a:extLst>
              <a:ext uri="{FF2B5EF4-FFF2-40B4-BE49-F238E27FC236}">
                <a16:creationId xmlns:a16="http://schemas.microsoft.com/office/drawing/2014/main" id="{D6412B60-0A85-EE3C-93C1-35253494C2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8613" y="107318"/>
            <a:ext cx="1206163" cy="368146"/>
          </a:xfrm>
          <a:prstGeom prst="rect">
            <a:avLst/>
          </a:prstGeom>
        </p:spPr>
      </p:pic>
      <p:grpSp>
        <p:nvGrpSpPr>
          <p:cNvPr id="16" name="Group 15">
            <a:extLst>
              <a:ext uri="{FF2B5EF4-FFF2-40B4-BE49-F238E27FC236}">
                <a16:creationId xmlns:a16="http://schemas.microsoft.com/office/drawing/2014/main" id="{1B4D86F0-F8F8-2C45-F61D-8B011235183E}"/>
              </a:ext>
            </a:extLst>
          </p:cNvPr>
          <p:cNvGrpSpPr/>
          <p:nvPr/>
        </p:nvGrpSpPr>
        <p:grpSpPr>
          <a:xfrm>
            <a:off x="4559769" y="931347"/>
            <a:ext cx="1598089" cy="678568"/>
            <a:chOff x="3947034" y="3649420"/>
            <a:chExt cx="1862782" cy="492767"/>
          </a:xfrm>
        </p:grpSpPr>
        <p:pic>
          <p:nvPicPr>
            <p:cNvPr id="17" name="Picture 16">
              <a:extLst>
                <a:ext uri="{FF2B5EF4-FFF2-40B4-BE49-F238E27FC236}">
                  <a16:creationId xmlns:a16="http://schemas.microsoft.com/office/drawing/2014/main" id="{1A2B61A3-C798-5304-F51E-2A2D1349C5F3}"/>
                </a:ext>
              </a:extLst>
            </p:cNvPr>
            <p:cNvPicPr>
              <a:picLocks noChangeAspect="1"/>
            </p:cNvPicPr>
            <p:nvPr/>
          </p:nvPicPr>
          <p:blipFill rotWithShape="1">
            <a:blip r:embed="rId8">
              <a:extLst>
                <a:ext uri="{28A0092B-C50C-407E-A947-70E740481C1C}">
                  <a14:useLocalDpi xmlns:a14="http://schemas.microsoft.com/office/drawing/2010/main" val="0"/>
                </a:ext>
              </a:extLst>
            </a:blip>
            <a:srcRect t="39126" b="21593"/>
            <a:stretch/>
          </p:blipFill>
          <p:spPr>
            <a:xfrm>
              <a:off x="3947034" y="3649420"/>
              <a:ext cx="948678" cy="456488"/>
            </a:xfrm>
            <a:prstGeom prst="rect">
              <a:avLst/>
            </a:prstGeom>
          </p:spPr>
        </p:pic>
        <p:pic>
          <p:nvPicPr>
            <p:cNvPr id="18" name="Picture 17">
              <a:extLst>
                <a:ext uri="{FF2B5EF4-FFF2-40B4-BE49-F238E27FC236}">
                  <a16:creationId xmlns:a16="http://schemas.microsoft.com/office/drawing/2014/main" id="{D20C2212-9475-E000-4022-3BB2ECF53930}"/>
                </a:ext>
              </a:extLst>
            </p:cNvPr>
            <p:cNvPicPr>
              <a:picLocks noChangeAspect="1"/>
            </p:cNvPicPr>
            <p:nvPr/>
          </p:nvPicPr>
          <p:blipFill rotWithShape="1">
            <a:blip r:embed="rId8">
              <a:extLst>
                <a:ext uri="{28A0092B-C50C-407E-A947-70E740481C1C}">
                  <a14:useLocalDpi xmlns:a14="http://schemas.microsoft.com/office/drawing/2010/main" val="0"/>
                </a:ext>
              </a:extLst>
            </a:blip>
            <a:srcRect b="57598"/>
            <a:stretch/>
          </p:blipFill>
          <p:spPr>
            <a:xfrm>
              <a:off x="4861138" y="3649420"/>
              <a:ext cx="948678" cy="492767"/>
            </a:xfrm>
            <a:prstGeom prst="rect">
              <a:avLst/>
            </a:prstGeom>
          </p:spPr>
        </p:pic>
      </p:grpSp>
      <p:pic>
        <p:nvPicPr>
          <p:cNvPr id="2050" name="Picture 2" descr="Fintech Saudi – فنتك السعودية">
            <a:extLst>
              <a:ext uri="{FF2B5EF4-FFF2-40B4-BE49-F238E27FC236}">
                <a16:creationId xmlns:a16="http://schemas.microsoft.com/office/drawing/2014/main" id="{6E9A8A93-8E00-78D5-23A1-585D43095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3185" y="5165009"/>
            <a:ext cx="2143125" cy="5699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implified Financial Solutions Company - SiFi | LinkedIn">
            <a:extLst>
              <a:ext uri="{FF2B5EF4-FFF2-40B4-BE49-F238E27FC236}">
                <a16:creationId xmlns:a16="http://schemas.microsoft.com/office/drawing/2014/main" id="{59551F1C-D4FE-A44E-9F67-51396D6FB794}"/>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10572" y="3863209"/>
            <a:ext cx="1424893" cy="142489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Medgulf - Lifecare International Insurance">
            <a:extLst>
              <a:ext uri="{FF2B5EF4-FFF2-40B4-BE49-F238E27FC236}">
                <a16:creationId xmlns:a16="http://schemas.microsoft.com/office/drawing/2014/main" id="{A842AC6A-5B1B-F109-57C7-6D41A4DEBF4E}"/>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27624" y="3370132"/>
            <a:ext cx="1566649" cy="156664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Tiqmo | LinkedIn">
            <a:extLst>
              <a:ext uri="{FF2B5EF4-FFF2-40B4-BE49-F238E27FC236}">
                <a16:creationId xmlns:a16="http://schemas.microsoft.com/office/drawing/2014/main" id="{A0869C78-9A32-4255-7E4B-C5AA2B3DF7B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199005" y="825935"/>
            <a:ext cx="1565432" cy="12824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icture containing text, clock, gauge&#10;&#10;Description automatically generated">
            <a:extLst>
              <a:ext uri="{FF2B5EF4-FFF2-40B4-BE49-F238E27FC236}">
                <a16:creationId xmlns:a16="http://schemas.microsoft.com/office/drawing/2014/main" id="{2B40682F-B07C-50D3-284E-1F93CA8D51C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31823" y="62810"/>
            <a:ext cx="1856887" cy="613977"/>
          </a:xfrm>
          <a:prstGeom prst="rect">
            <a:avLst/>
          </a:prstGeom>
        </p:spPr>
      </p:pic>
      <p:pic>
        <p:nvPicPr>
          <p:cNvPr id="2062" name="Picture 14" descr="Allianz Saudi Fransi Co.">
            <a:extLst>
              <a:ext uri="{FF2B5EF4-FFF2-40B4-BE49-F238E27FC236}">
                <a16:creationId xmlns:a16="http://schemas.microsoft.com/office/drawing/2014/main" id="{D404A6A6-0270-502A-3B24-717685386778}"/>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3696" y="2459641"/>
            <a:ext cx="2991860" cy="14778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D473F81A-29FB-36F9-F9E5-3515E5CB8C56}"/>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1811" y="1761056"/>
            <a:ext cx="1771363" cy="714584"/>
          </a:xfrm>
          <a:prstGeom prst="rect">
            <a:avLst/>
          </a:prstGeom>
        </p:spPr>
      </p:pic>
      <p:pic>
        <p:nvPicPr>
          <p:cNvPr id="10" name="Picture 9" descr="Logo&#10;&#10;Description automatically generated">
            <a:extLst>
              <a:ext uri="{FF2B5EF4-FFF2-40B4-BE49-F238E27FC236}">
                <a16:creationId xmlns:a16="http://schemas.microsoft.com/office/drawing/2014/main" id="{66F591AF-0331-719C-3929-7830F5ACC5C3}"/>
              </a:ext>
            </a:extLst>
          </p:cNvPr>
          <p:cNvPicPr>
            <a:picLocks noChangeAspect="1"/>
          </p:cNvPicPr>
          <p:nvPr/>
        </p:nvPicPr>
        <p:blipFill rotWithShape="1">
          <a:blip r:embed="rId21">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val="0"/>
              </a:ext>
            </a:extLst>
          </a:blip>
          <a:srcRect l="4477" t="4930" r="1037" b="7898"/>
          <a:stretch/>
        </p:blipFill>
        <p:spPr>
          <a:xfrm>
            <a:off x="2312903" y="4882252"/>
            <a:ext cx="1993987" cy="949021"/>
          </a:xfrm>
          <a:prstGeom prst="rect">
            <a:avLst/>
          </a:prstGeom>
        </p:spPr>
      </p:pic>
      <p:pic>
        <p:nvPicPr>
          <p:cNvPr id="2064" name="Picture 16">
            <a:extLst>
              <a:ext uri="{FF2B5EF4-FFF2-40B4-BE49-F238E27FC236}">
                <a16:creationId xmlns:a16="http://schemas.microsoft.com/office/drawing/2014/main" id="{4D0FE037-64BD-BC1D-99D3-97C822E77ADA}"/>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870259" y="3904052"/>
            <a:ext cx="2155386" cy="117113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a:extLst>
              <a:ext uri="{FF2B5EF4-FFF2-40B4-BE49-F238E27FC236}">
                <a16:creationId xmlns:a16="http://schemas.microsoft.com/office/drawing/2014/main" id="{F4AE1D94-5973-887E-8EC8-D7893B05B37F}"/>
              </a:ext>
            </a:extLst>
          </p:cNvPr>
          <p:cNvPicPr>
            <a:picLocks noChangeAspect="1"/>
          </p:cNvPicPr>
          <p:nvPr/>
        </p:nvPicPr>
        <p:blipFill>
          <a:blip r:embed="rId25" cstate="print">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639518" y="4948486"/>
            <a:ext cx="1518532" cy="582871"/>
          </a:xfrm>
          <a:prstGeom prst="rect">
            <a:avLst/>
          </a:prstGeom>
        </p:spPr>
      </p:pic>
      <p:pic>
        <p:nvPicPr>
          <p:cNvPr id="2066" name="Picture 18" descr="Fact Sheet | SHL Finance Company">
            <a:extLst>
              <a:ext uri="{FF2B5EF4-FFF2-40B4-BE49-F238E27FC236}">
                <a16:creationId xmlns:a16="http://schemas.microsoft.com/office/drawing/2014/main" id="{C16E2555-90F6-DBC7-05B0-3D6B74D786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1118" y="3817203"/>
            <a:ext cx="1315167" cy="101546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a:extLst>
              <a:ext uri="{FF2B5EF4-FFF2-40B4-BE49-F238E27FC236}">
                <a16:creationId xmlns:a16="http://schemas.microsoft.com/office/drawing/2014/main" id="{514E7EF2-E110-0C85-5432-A164A82BAEA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388272" y="3388492"/>
            <a:ext cx="1162576" cy="548994"/>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Logo">
            <a:extLst>
              <a:ext uri="{FF2B5EF4-FFF2-40B4-BE49-F238E27FC236}">
                <a16:creationId xmlns:a16="http://schemas.microsoft.com/office/drawing/2014/main" id="{E53EFA27-B89F-CA7E-0F3E-FC983D6F15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descr="A green circle with black text and blue and white logo&#10;&#10;Description automatically generated">
            <a:extLst>
              <a:ext uri="{FF2B5EF4-FFF2-40B4-BE49-F238E27FC236}">
                <a16:creationId xmlns:a16="http://schemas.microsoft.com/office/drawing/2014/main" id="{623F3A5A-AF25-55D9-65B4-9E58E9CAAF68}"/>
              </a:ext>
            </a:extLst>
          </p:cNvPr>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904369" y="1751794"/>
            <a:ext cx="923829" cy="923829"/>
          </a:xfrm>
          <a:prstGeom prst="rect">
            <a:avLst/>
          </a:prstGeom>
        </p:spPr>
      </p:pic>
      <p:pic>
        <p:nvPicPr>
          <p:cNvPr id="14" name="Graphic 13">
            <a:extLst>
              <a:ext uri="{FF2B5EF4-FFF2-40B4-BE49-F238E27FC236}">
                <a16:creationId xmlns:a16="http://schemas.microsoft.com/office/drawing/2014/main" id="{9B224125-5D53-6084-E918-58297F99D2B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2765929" y="1252858"/>
            <a:ext cx="1598089" cy="581123"/>
          </a:xfrm>
          <a:prstGeom prst="rect">
            <a:avLst/>
          </a:prstGeom>
        </p:spPr>
      </p:pic>
      <p:pic>
        <p:nvPicPr>
          <p:cNvPr id="3076" name="Picture 4" descr="Tamweel Aloula Achieves Highest Annual ...">
            <a:extLst>
              <a:ext uri="{FF2B5EF4-FFF2-40B4-BE49-F238E27FC236}">
                <a16:creationId xmlns:a16="http://schemas.microsoft.com/office/drawing/2014/main" id="{2AEC7204-479C-9409-DDB4-AE8FA4A0D9B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59912" y="2005572"/>
            <a:ext cx="1289506" cy="67170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l Rashed Group Jobs, Al Rashed Group ...">
            <a:extLst>
              <a:ext uri="{FF2B5EF4-FFF2-40B4-BE49-F238E27FC236}">
                <a16:creationId xmlns:a16="http://schemas.microsoft.com/office/drawing/2014/main" id="{2F2A47A3-D148-5837-072E-7CC18B029162}"/>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120023" y="5789220"/>
            <a:ext cx="1951953" cy="61333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9" name="x_x_x_Picture 60" descr="A close up of a logo&#10;&#10;Description generated with very high confidence">
            <a:extLst>
              <a:ext uri="{FF2B5EF4-FFF2-40B4-BE49-F238E27FC236}">
                <a16:creationId xmlns:a16="http://schemas.microsoft.com/office/drawing/2014/main" id="{D319EC85-1CF1-79EE-591D-A98A207A24C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963920" y="2193136"/>
            <a:ext cx="1708830" cy="62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1" descr="SalesFine | LinkedIn">
            <a:extLst>
              <a:ext uri="{FF2B5EF4-FFF2-40B4-BE49-F238E27FC236}">
                <a16:creationId xmlns:a16="http://schemas.microsoft.com/office/drawing/2014/main" id="{1973B103-EF9A-DAE9-8A4C-7DD33BEA8E0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029195" y="2807458"/>
            <a:ext cx="1094936" cy="109493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A picture containing screenshot, font, graphics, logo&#10;&#10;Description automatically generated">
            <a:extLst>
              <a:ext uri="{FF2B5EF4-FFF2-40B4-BE49-F238E27FC236}">
                <a16:creationId xmlns:a16="http://schemas.microsoft.com/office/drawing/2014/main" id="{EFFBFECC-150F-8F15-6571-80815B53B9E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088712" y="4214909"/>
            <a:ext cx="1584325"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a:extLst>
              <a:ext uri="{FF2B5EF4-FFF2-40B4-BE49-F238E27FC236}">
                <a16:creationId xmlns:a16="http://schemas.microsoft.com/office/drawing/2014/main" id="{C427C7F6-F412-EC12-7286-99E5FAAB92F7}"/>
              </a:ext>
            </a:extLst>
          </p:cNvPr>
          <p:cNvPicPr>
            <a:picLocks noChangeAspect="1"/>
          </p:cNvPicPr>
          <p:nvPr/>
        </p:nvPicPr>
        <p:blipFill>
          <a:blip r:embed="rId41"/>
          <a:stretch>
            <a:fillRect/>
          </a:stretch>
        </p:blipFill>
        <p:spPr>
          <a:xfrm>
            <a:off x="7479599" y="5891472"/>
            <a:ext cx="886838" cy="408826"/>
          </a:xfrm>
          <a:prstGeom prst="rect">
            <a:avLst/>
          </a:prstGeom>
        </p:spPr>
      </p:pic>
      <p:pic>
        <p:nvPicPr>
          <p:cNvPr id="3085" name="Picture 13">
            <a:extLst>
              <a:ext uri="{FF2B5EF4-FFF2-40B4-BE49-F238E27FC236}">
                <a16:creationId xmlns:a16="http://schemas.microsoft.com/office/drawing/2014/main" id="{48543F14-8F96-919E-BDA3-31675A076147}"/>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94758" y="3459990"/>
            <a:ext cx="1315167" cy="33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7" name="Picture 15" descr="Ejada plans its expansion in KSA and ...">
            <a:extLst>
              <a:ext uri="{FF2B5EF4-FFF2-40B4-BE49-F238E27FC236}">
                <a16:creationId xmlns:a16="http://schemas.microsoft.com/office/drawing/2014/main" id="{6E7E999B-420A-B667-84F7-36086514D9F6}"/>
              </a:ext>
            </a:extLst>
          </p:cNvPr>
          <p:cNvPicPr>
            <a:picLocks noChangeAspect="1" noChangeArrowheads="1"/>
          </p:cNvPicPr>
          <p:nvPr/>
        </p:nvPicPr>
        <p:blipFill>
          <a:blip r:embed="rId43">
            <a:extLst>
              <a:ext uri="{BEBA8EAE-BF5A-486C-A8C5-ECC9F3942E4B}">
                <a14:imgProps xmlns:a14="http://schemas.microsoft.com/office/drawing/2010/main">
                  <a14:imgLayer r:embed="rId4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398179" y="5121785"/>
            <a:ext cx="1423804" cy="711902"/>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shopping assistant, Tabby Shop ...">
            <a:extLst>
              <a:ext uri="{FF2B5EF4-FFF2-40B4-BE49-F238E27FC236}">
                <a16:creationId xmlns:a16="http://schemas.microsoft.com/office/drawing/2014/main" id="{E8DA3DDB-DE4F-BC73-87E8-0DAB0C4A8F84}"/>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989732" y="5759493"/>
            <a:ext cx="1111976" cy="7632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5A985B5-D918-631B-5319-C22798AF99C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252341" y="5723142"/>
            <a:ext cx="1111977" cy="764805"/>
          </a:xfrm>
          <a:prstGeom prst="rect">
            <a:avLst/>
          </a:prstGeom>
        </p:spPr>
      </p:pic>
      <p:pic>
        <p:nvPicPr>
          <p:cNvPr id="3091" name="Picture 19" descr="About Wadaie - Wadaie">
            <a:extLst>
              <a:ext uri="{FF2B5EF4-FFF2-40B4-BE49-F238E27FC236}">
                <a16:creationId xmlns:a16="http://schemas.microsoft.com/office/drawing/2014/main" id="{50CDCD4F-BA80-274E-A3B5-DD1D6B8D798B}"/>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14126" y="289046"/>
            <a:ext cx="1377306" cy="552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1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5" descr="Telecom Review - Etisalat set to become official telecom partner ...">
            <a:extLst>
              <a:ext uri="{FF2B5EF4-FFF2-40B4-BE49-F238E27FC236}">
                <a16:creationId xmlns:a16="http://schemas.microsoft.com/office/drawing/2014/main" id="{02B86ED1-22BB-573A-32E5-D41833EDAF89}"/>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sp>
        <p:nvSpPr>
          <p:cNvPr id="110" name="AutoShape 7" descr="Telecom Review - Etisalat set to become official telecom partner ...">
            <a:extLst>
              <a:ext uri="{FF2B5EF4-FFF2-40B4-BE49-F238E27FC236}">
                <a16:creationId xmlns:a16="http://schemas.microsoft.com/office/drawing/2014/main" id="{53AEA992-8984-D5BA-237E-FE7AFBCF080D}"/>
              </a:ext>
            </a:extLst>
          </p:cNvPr>
          <p:cNvSpPr>
            <a:spLocks noChangeAspect="1" noChangeArrowheads="1"/>
          </p:cNvSpPr>
          <p:nvPr/>
        </p:nvSpPr>
        <p:spPr bwMode="auto">
          <a:xfrm>
            <a:off x="139533" y="-240715"/>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Calibri" panose="020F0502020204030204" pitchFamily="34" charset="0"/>
            </a:endParaRPr>
          </a:p>
        </p:txBody>
      </p:sp>
      <p:pic>
        <p:nvPicPr>
          <p:cNvPr id="121" name="Picture 120">
            <a:extLst>
              <a:ext uri="{FF2B5EF4-FFF2-40B4-BE49-F238E27FC236}">
                <a16:creationId xmlns:a16="http://schemas.microsoft.com/office/drawing/2014/main" id="{F225DAEA-B65F-B3BE-2F94-560BD2571A2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2867" y="155512"/>
            <a:ext cx="3659188" cy="1508029"/>
          </a:xfrm>
          <a:prstGeom prst="rect">
            <a:avLst/>
          </a:prstGeom>
        </p:spPr>
      </p:pic>
      <p:sp>
        <p:nvSpPr>
          <p:cNvPr id="123" name="Rectangle 122">
            <a:extLst>
              <a:ext uri="{FF2B5EF4-FFF2-40B4-BE49-F238E27FC236}">
                <a16:creationId xmlns:a16="http://schemas.microsoft.com/office/drawing/2014/main" id="{84728BB7-D9CF-1D12-D377-6BA285EF82E5}"/>
              </a:ext>
            </a:extLst>
          </p:cNvPr>
          <p:cNvSpPr/>
          <p:nvPr/>
        </p:nvSpPr>
        <p:spPr>
          <a:xfrm>
            <a:off x="8760881" y="-10886"/>
            <a:ext cx="34311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sp>
        <p:nvSpPr>
          <p:cNvPr id="127" name="TextBox 22">
            <a:extLst>
              <a:ext uri="{FF2B5EF4-FFF2-40B4-BE49-F238E27FC236}">
                <a16:creationId xmlns:a16="http://schemas.microsoft.com/office/drawing/2014/main" id="{DD5A9E10-FE1D-D49D-2B44-E9918AB5CEC5}"/>
              </a:ext>
            </a:extLst>
          </p:cNvPr>
          <p:cNvSpPr txBox="1"/>
          <p:nvPr/>
        </p:nvSpPr>
        <p:spPr>
          <a:xfrm>
            <a:off x="9093460" y="2849883"/>
            <a:ext cx="3150652" cy="538609"/>
          </a:xfrm>
          <a:prstGeom prst="rect">
            <a:avLst/>
          </a:prstGeom>
        </p:spPr>
        <p:txBody>
          <a:bodyPr wrap="square" lIns="0" tIns="0" rIns="0" bIns="0" rtlCol="0" anchor="t">
            <a:spAutoFit/>
          </a:bodyPr>
          <a:lstStyle/>
          <a:p>
            <a:pPr marL="0" marR="0" lvl="0" indent="0" algn="l" defTabSz="857250" rtl="0" eaLnBrk="1" fontAlgn="auto" latinLnBrk="0" hangingPunct="1">
              <a:lnSpc>
                <a:spcPts val="2055"/>
              </a:lnSpc>
              <a:spcBef>
                <a:spcPts val="0"/>
              </a:spcBef>
              <a:spcAft>
                <a:spcPts val="0"/>
              </a:spcAft>
              <a:buClrTx/>
              <a:buSzTx/>
              <a:buFontTx/>
              <a:buNone/>
              <a:tabLst/>
              <a:defRPr/>
            </a:pPr>
            <a:r>
              <a:rPr kumimoji="0" lang="en-US" sz="1800" b="0" i="0" u="none" strike="noStrike" kern="1200" cap="none" spc="102" normalizeH="0" baseline="0" noProof="0">
                <a:ln>
                  <a:noFill/>
                </a:ln>
                <a:solidFill>
                  <a:srgbClr val="EDE6E2"/>
                </a:solidFill>
                <a:effectLst/>
                <a:uLnTx/>
                <a:uFillTx/>
                <a:ea typeface="+mn-ea"/>
                <a:cs typeface="Calibri" panose="020F0502020204030204" pitchFamily="34" charset="0"/>
              </a:rPr>
              <a:t>Our selected esteemed partners(Around the globe)</a:t>
            </a:r>
          </a:p>
        </p:txBody>
      </p:sp>
      <p:pic>
        <p:nvPicPr>
          <p:cNvPr id="131" name="Picture 130">
            <a:extLst>
              <a:ext uri="{FF2B5EF4-FFF2-40B4-BE49-F238E27FC236}">
                <a16:creationId xmlns:a16="http://schemas.microsoft.com/office/drawing/2014/main" id="{D1370B42-FF70-B48E-346E-3F49F0225A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76568" y="3887944"/>
            <a:ext cx="2887296" cy="1577625"/>
          </a:xfrm>
          <a:prstGeom prst="rect">
            <a:avLst/>
          </a:prstGeom>
        </p:spPr>
      </p:pic>
      <p:grpSp>
        <p:nvGrpSpPr>
          <p:cNvPr id="132" name="Group 4">
            <a:extLst>
              <a:ext uri="{FF2B5EF4-FFF2-40B4-BE49-F238E27FC236}">
                <a16:creationId xmlns:a16="http://schemas.microsoft.com/office/drawing/2014/main" id="{74091E4B-BDC3-FA69-FCCD-921B22FEAF11}"/>
              </a:ext>
            </a:extLst>
          </p:cNvPr>
          <p:cNvGrpSpPr/>
          <p:nvPr/>
        </p:nvGrpSpPr>
        <p:grpSpPr>
          <a:xfrm>
            <a:off x="9105986" y="1351392"/>
            <a:ext cx="2280629" cy="1248927"/>
            <a:chOff x="-17082" y="-438924"/>
            <a:chExt cx="2696266" cy="1776251"/>
          </a:xfrm>
        </p:grpSpPr>
        <p:sp>
          <p:nvSpPr>
            <p:cNvPr id="133" name="TextBox 5">
              <a:extLst>
                <a:ext uri="{FF2B5EF4-FFF2-40B4-BE49-F238E27FC236}">
                  <a16:creationId xmlns:a16="http://schemas.microsoft.com/office/drawing/2014/main" id="{766C6454-A9E1-8C20-5F67-F61D5F965F36}"/>
                </a:ext>
              </a:extLst>
            </p:cNvPr>
            <p:cNvSpPr txBox="1"/>
            <p:nvPr/>
          </p:nvSpPr>
          <p:spPr>
            <a:xfrm>
              <a:off x="-17082" y="-438924"/>
              <a:ext cx="2696266" cy="1641474"/>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lang="en-US" sz="4000" b="1" spc="-45">
                  <a:solidFill>
                    <a:prstClr val="white"/>
                  </a:solidFill>
                </a:rPr>
                <a:t>Service Providers</a:t>
              </a:r>
              <a:endParaRPr kumimoji="0" lang="en-US" sz="4000" b="1" i="0" u="none" strike="noStrike" kern="1200" cap="none" spc="-45" normalizeH="0" baseline="0" noProof="0">
                <a:ln>
                  <a:noFill/>
                </a:ln>
                <a:solidFill>
                  <a:prstClr val="white"/>
                </a:solidFill>
                <a:effectLst/>
                <a:uLnTx/>
                <a:uFillTx/>
                <a:ea typeface="+mn-ea"/>
                <a:cs typeface="+mn-cs"/>
              </a:endParaRPr>
            </a:p>
          </p:txBody>
        </p:sp>
        <p:sp>
          <p:nvSpPr>
            <p:cNvPr id="134" name="AutoShape 6">
              <a:extLst>
                <a:ext uri="{FF2B5EF4-FFF2-40B4-BE49-F238E27FC236}">
                  <a16:creationId xmlns:a16="http://schemas.microsoft.com/office/drawing/2014/main" id="{1D1BE54B-BB82-1133-4710-2C5638D4A733}"/>
                </a:ext>
              </a:extLst>
            </p:cNvPr>
            <p:cNvSpPr/>
            <p:nvPr/>
          </p:nvSpPr>
          <p:spPr>
            <a:xfrm>
              <a:off x="0" y="1246293"/>
              <a:ext cx="780288" cy="91034"/>
            </a:xfrm>
            <a:prstGeom prst="rect">
              <a:avLst/>
            </a:prstGeom>
            <a:solidFill>
              <a:srgbClr val="CCB76A"/>
            </a:solidFill>
          </p:spPr>
          <p:txBody>
            <a:bodyPr/>
            <a:lstStyle/>
            <a:p>
              <a:endParaRPr lang="en-US"/>
            </a:p>
          </p:txBody>
        </p:sp>
      </p:grpSp>
      <p:sp>
        <p:nvSpPr>
          <p:cNvPr id="136" name="Freeform 11">
            <a:extLst>
              <a:ext uri="{FF2B5EF4-FFF2-40B4-BE49-F238E27FC236}">
                <a16:creationId xmlns:a16="http://schemas.microsoft.com/office/drawing/2014/main" id="{BBF3295C-12D4-EB63-9BC7-6E9FD092E234}"/>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pic>
        <p:nvPicPr>
          <p:cNvPr id="104" name="Picture 103">
            <a:extLst>
              <a:ext uri="{FF2B5EF4-FFF2-40B4-BE49-F238E27FC236}">
                <a16:creationId xmlns:a16="http://schemas.microsoft.com/office/drawing/2014/main" id="{67343EE6-FF34-67D6-B1E2-51F4914E1809}"/>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664102" y="103247"/>
            <a:ext cx="3986426" cy="1153479"/>
          </a:xfrm>
          <a:prstGeom prst="rect">
            <a:avLst/>
          </a:prstGeom>
        </p:spPr>
      </p:pic>
      <p:sp>
        <p:nvSpPr>
          <p:cNvPr id="2" name="Slide Number Placeholder 4">
            <a:extLst>
              <a:ext uri="{FF2B5EF4-FFF2-40B4-BE49-F238E27FC236}">
                <a16:creationId xmlns:a16="http://schemas.microsoft.com/office/drawing/2014/main" id="{CDB4FF7F-EDC2-BEF6-F4C8-232AC11390AD}"/>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white"/>
              </a:solidFill>
              <a:effectLst/>
              <a:uLnTx/>
              <a:uFillTx/>
              <a:ea typeface="+mn-ea"/>
              <a:cs typeface="+mn-cs"/>
            </a:endParaRPr>
          </a:p>
        </p:txBody>
      </p:sp>
      <p:pic>
        <p:nvPicPr>
          <p:cNvPr id="7" name="Picture 6">
            <a:extLst>
              <a:ext uri="{FF2B5EF4-FFF2-40B4-BE49-F238E27FC236}">
                <a16:creationId xmlns:a16="http://schemas.microsoft.com/office/drawing/2014/main" id="{289D5CA8-FB42-5EF6-0739-534867BDC3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67063" y="1209730"/>
            <a:ext cx="1838642" cy="2047542"/>
          </a:xfrm>
          <a:prstGeom prst="rect">
            <a:avLst/>
          </a:prstGeom>
        </p:spPr>
      </p:pic>
      <p:pic>
        <p:nvPicPr>
          <p:cNvPr id="14" name="Picture 13">
            <a:extLst>
              <a:ext uri="{FF2B5EF4-FFF2-40B4-BE49-F238E27FC236}">
                <a16:creationId xmlns:a16="http://schemas.microsoft.com/office/drawing/2014/main" id="{875448FF-FBE3-1DC2-26F8-61F07CC81691}"/>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48233" y="1273345"/>
            <a:ext cx="2305591" cy="1508029"/>
          </a:xfrm>
          <a:prstGeom prst="rect">
            <a:avLst/>
          </a:prstGeom>
        </p:spPr>
      </p:pic>
      <p:pic>
        <p:nvPicPr>
          <p:cNvPr id="4098" name="Picture 2" descr="Multinet Case Study Design - Intellicon">
            <a:extLst>
              <a:ext uri="{FF2B5EF4-FFF2-40B4-BE49-F238E27FC236}">
                <a16:creationId xmlns:a16="http://schemas.microsoft.com/office/drawing/2014/main" id="{AAA90AD3-A0E5-4142-A976-A54D011846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467" y="3119187"/>
            <a:ext cx="4113123" cy="246787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ahara Net - Wikipedia">
            <a:extLst>
              <a:ext uri="{FF2B5EF4-FFF2-40B4-BE49-F238E27FC236}">
                <a16:creationId xmlns:a16="http://schemas.microsoft.com/office/drawing/2014/main" id="{219E52A0-C5A9-85CB-26A2-714DD00157BC}"/>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398817" y="4284356"/>
            <a:ext cx="3141358" cy="10921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AB82831E-1841-6A35-AC08-85053A537001}"/>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00731" y="1526496"/>
            <a:ext cx="2262648" cy="12847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DEMIA Extends its Commitment to the Kingdom of Saudi Arabia with the  Acquisition of PCARD | HIMAYA">
            <a:extLst>
              <a:ext uri="{FF2B5EF4-FFF2-40B4-BE49-F238E27FC236}">
                <a16:creationId xmlns:a16="http://schemas.microsoft.com/office/drawing/2014/main" id="{9D415DD8-87FA-ED2D-4247-1A7D879AF7C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85999" y="4960467"/>
            <a:ext cx="2892112" cy="14460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et | LinkedIn">
            <a:extLst>
              <a:ext uri="{FF2B5EF4-FFF2-40B4-BE49-F238E27FC236}">
                <a16:creationId xmlns:a16="http://schemas.microsoft.com/office/drawing/2014/main" id="{A71AC966-4899-E75C-F54A-1E4482AA5965}"/>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096766" y="2891859"/>
            <a:ext cx="1392497" cy="13924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153FFD7-EF71-6106-2FB9-F311828F54C3}"/>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10000" r="90000"/>
                    </a14:imgEffect>
                  </a14:imgLayer>
                </a14:imgProps>
              </a:ext>
            </a:extLst>
          </a:blip>
          <a:stretch>
            <a:fillRect/>
          </a:stretch>
        </p:blipFill>
        <p:spPr>
          <a:xfrm>
            <a:off x="5945416" y="3207054"/>
            <a:ext cx="2048161" cy="762106"/>
          </a:xfrm>
          <a:prstGeom prst="rect">
            <a:avLst/>
          </a:prstGeom>
        </p:spPr>
      </p:pic>
      <p:pic>
        <p:nvPicPr>
          <p:cNvPr id="2052" name="Picture 4">
            <a:extLst>
              <a:ext uri="{FF2B5EF4-FFF2-40B4-BE49-F238E27FC236}">
                <a16:creationId xmlns:a16="http://schemas.microsoft.com/office/drawing/2014/main" id="{36ABF911-0848-C74C-8F33-EAAD289D71F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52076" y="6103599"/>
            <a:ext cx="4332803" cy="4219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F298EDA7-A049-7963-7313-70907C44357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93725" y="2859550"/>
            <a:ext cx="2262648" cy="84904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8F4DB3-DCF7-55AA-0A59-1867C1FB38EE}"/>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imgEffect>
                  </a14:imgLayer>
                </a14:imgProps>
              </a:ext>
            </a:extLst>
          </a:blip>
          <a:stretch>
            <a:fillRect/>
          </a:stretch>
        </p:blipFill>
        <p:spPr>
          <a:xfrm>
            <a:off x="5058824" y="1643183"/>
            <a:ext cx="2353003" cy="800212"/>
          </a:xfrm>
          <a:prstGeom prst="rect">
            <a:avLst/>
          </a:prstGeom>
        </p:spPr>
      </p:pic>
      <p:pic>
        <p:nvPicPr>
          <p:cNvPr id="2056" name="Picture 8" descr="Mozn | LinkedIn">
            <a:extLst>
              <a:ext uri="{FF2B5EF4-FFF2-40B4-BE49-F238E27FC236}">
                <a16:creationId xmlns:a16="http://schemas.microsoft.com/office/drawing/2014/main" id="{C4BCFA5E-54D2-EACC-C071-270DC56C364A}"/>
              </a:ext>
            </a:extLst>
          </p:cNvPr>
          <p:cNvPicPr>
            <a:picLocks noChangeAspect="1" noChangeArrowheads="1"/>
          </p:cNvPicPr>
          <p:nvPr/>
        </p:nvPicPr>
        <p:blipFill>
          <a:blip r:embed="rId25">
            <a:extLst>
              <a:ext uri="{BEBA8EAE-BF5A-486C-A8C5-ECC9F3942E4B}">
                <a14:imgProps xmlns:a14="http://schemas.microsoft.com/office/drawing/2010/main">
                  <a14:imgLayer r:embed="rId2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92070" y="4851307"/>
            <a:ext cx="1252292" cy="1252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322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endParaRPr lang="en-US"/>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 name="TextBox 7">
            <a:extLst>
              <a:ext uri="{FF2B5EF4-FFF2-40B4-BE49-F238E27FC236}">
                <a16:creationId xmlns:a16="http://schemas.microsoft.com/office/drawing/2014/main" id="{E9A01113-3042-B3DC-33C8-AB3B0A4459A9}"/>
              </a:ext>
            </a:extLst>
          </p:cNvPr>
          <p:cNvSpPr txBox="1"/>
          <p:nvPr/>
        </p:nvSpPr>
        <p:spPr>
          <a:xfrm>
            <a:off x="3986485" y="1105634"/>
            <a:ext cx="7347365" cy="830356"/>
          </a:xfrm>
          <a:prstGeom prst="rect">
            <a:avLst/>
          </a:prstGeom>
        </p:spPr>
        <p:txBody>
          <a:bodyPr lIns="0" tIns="0" rIns="0" bIns="0" rtlCol="0" anchor="t">
            <a:spAutoFit/>
          </a:bodyPr>
          <a:lstStyle/>
          <a:p>
            <a:pPr marL="0" marR="0" lvl="0" indent="0" algn="just" defTabSz="857250" rtl="0" eaLnBrk="1" fontAlgn="auto" latinLnBrk="0" hangingPunct="1">
              <a:lnSpc>
                <a:spcPts val="1575"/>
              </a:lnSpc>
              <a:spcBef>
                <a:spcPts val="0"/>
              </a:spcBef>
              <a:spcAft>
                <a:spcPts val="0"/>
              </a:spcAft>
              <a:buClrTx/>
              <a:buSzTx/>
              <a:buFontTx/>
              <a:buNone/>
              <a:tabLst/>
              <a:defRPr/>
            </a:pP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During the Financial sector conference, held on 15th March 2023 in Riyadh Saudi Arabia, Fintech Saudi | </a:t>
            </a:r>
            <a:r>
              <a:rPr kumimoji="0" lang="ar-AE"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فنتك السعودية </a:t>
            </a:r>
            <a:r>
              <a:rPr kumimoji="0" lang="en-US" b="0" i="0" u="none" strike="noStrike" kern="1200" cap="none" spc="0"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 and GRC 360 signed a memorandum of understanding to extend discounted packages to fintech companies in KSA.</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86485" y="425115"/>
            <a:ext cx="7860884" cy="1719089"/>
            <a:chOff x="47672" y="-375132"/>
            <a:chExt cx="6884700" cy="2444926"/>
          </a:xfrm>
        </p:grpSpPr>
        <p:sp>
          <p:nvSpPr>
            <p:cNvPr id="9" name="TextBox 6">
              <a:extLst>
                <a:ext uri="{FF2B5EF4-FFF2-40B4-BE49-F238E27FC236}">
                  <a16:creationId xmlns:a16="http://schemas.microsoft.com/office/drawing/2014/main" id="{4810DB82-4723-AD07-2ED0-BB8017DA18AE}"/>
                </a:ext>
              </a:extLst>
            </p:cNvPr>
            <p:cNvSpPr txBox="1"/>
            <p:nvPr/>
          </p:nvSpPr>
          <p:spPr>
            <a:xfrm>
              <a:off x="47673" y="-375132"/>
              <a:ext cx="6884699" cy="788912"/>
            </a:xfrm>
            <a:prstGeom prst="rect">
              <a:avLst/>
            </a:prstGeom>
          </p:spPr>
          <p:txBody>
            <a:bodyPr wrap="square"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mj-lt"/>
                  <a:ea typeface="+mn-ea"/>
                  <a:cs typeface="Calibri" panose="020F0502020204030204" pitchFamily="34" charset="0"/>
                </a:rPr>
                <a:t>MOU SIGNING WITH FINTECH SAUDI  </a:t>
              </a:r>
              <a:endParaRPr kumimoji="0" lang="en-US" sz="4800" b="1" i="0" u="none" strike="noStrike" kern="1200" cap="none" spc="-45" normalizeH="0" baseline="0" noProof="0">
                <a:ln>
                  <a:noFill/>
                </a:ln>
                <a:solidFill>
                  <a:srgbClr val="20212A"/>
                </a:solidFill>
                <a:effectLst/>
                <a:uLnTx/>
                <a:uFillTx/>
                <a:latin typeface="+mj-lt"/>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47672" y="1920781"/>
              <a:ext cx="677333" cy="149013"/>
            </a:xfrm>
            <a:prstGeom prst="rect">
              <a:avLst/>
            </a:prstGeom>
            <a:solidFill>
              <a:srgbClr val="CCB76A"/>
            </a:solidFill>
          </p:spPr>
          <p:txBody>
            <a:bodyPr/>
            <a:lstStyle/>
            <a:p>
              <a:endParaRPr lang="en-US"/>
            </a:p>
          </p:txBody>
        </p:sp>
      </p:grpSp>
      <p:pic>
        <p:nvPicPr>
          <p:cNvPr id="6146" name="Picture 2" descr="No alternative text description for this image">
            <a:extLst>
              <a:ext uri="{FF2B5EF4-FFF2-40B4-BE49-F238E27FC236}">
                <a16:creationId xmlns:a16="http://schemas.microsoft.com/office/drawing/2014/main" id="{75ACD088-8283-6752-B06A-5DD0C4892B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897" y="2246633"/>
            <a:ext cx="5963196" cy="39742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885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211772"/>
            <a:ext cx="12192000" cy="1619250"/>
          </a:xfrm>
          <a:solidFill>
            <a:schemeClr val="tx1"/>
          </a:solidFill>
        </p:spPr>
        <p:txBody>
          <a:bodyPr>
            <a:normAutofit/>
          </a:bodyPr>
          <a:lstStyle/>
          <a:p>
            <a:pPr indent="738188"/>
            <a:r>
              <a:rPr lang="en-US" sz="4000" b="1">
                <a:solidFill>
                  <a:schemeClr val="bg1"/>
                </a:solidFill>
                <a:cs typeface="Calibri" panose="020F0502020204030204" pitchFamily="34" charset="0"/>
              </a:rPr>
              <a:t>OUR COMPETITIVE ADVANTAGE</a:t>
            </a:r>
            <a:endParaRPr lang="en-GB" sz="4000" b="1">
              <a:solidFill>
                <a:schemeClr val="bg1"/>
              </a:solidFill>
              <a:cs typeface="Calibri" panose="020F0502020204030204" pitchFamily="34" charset="0"/>
            </a:endParaRPr>
          </a:p>
        </p:txBody>
      </p:sp>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 name="Rectangle 159">
            <a:extLst>
              <a:ext uri="{FF2B5EF4-FFF2-40B4-BE49-F238E27FC236}">
                <a16:creationId xmlns:a16="http://schemas.microsoft.com/office/drawing/2014/main" id="{A5BF568A-91BF-6999-F02A-AEA839EB9A38}"/>
              </a:ext>
            </a:extLst>
          </p:cNvPr>
          <p:cNvSpPr txBox="1"/>
          <p:nvPr/>
        </p:nvSpPr>
        <p:spPr>
          <a:xfrm>
            <a:off x="1776910" y="4515464"/>
            <a:ext cx="1511485" cy="11849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defPPr>
              <a:defRPr lang="en-US"/>
            </a:defPPr>
            <a:lvl1pPr algn="ctr" defTabSz="685800">
              <a:lnSpc>
                <a:spcPct val="100000"/>
              </a:lnSpc>
              <a:defRPr sz="1000">
                <a:solidFill>
                  <a:prstClr val="black"/>
                </a:solidFill>
                <a:latin typeface="Arial"/>
                <a:ea typeface="Arial"/>
                <a:cs typeface="Arial" panose="020B0604020202020204"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GRC360</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will be mobilizing exceptionally talented</a:t>
            </a: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rPr>
              <a:t> Cyber Security</a:t>
            </a:r>
            <a:r>
              <a:rPr kumimoji="0" sz="1100" b="0" i="0" u="none" strike="noStrike" kern="1200" cap="none" spc="0" normalizeH="0" baseline="0" noProof="0">
                <a:ln>
                  <a:noFill/>
                </a:ln>
                <a:solidFill>
                  <a:prstClr val="black"/>
                </a:solidFill>
                <a:effectLst/>
                <a:uLnTx/>
                <a:uFillTx/>
                <a:latin typeface="Calibri"/>
                <a:cs typeface="Arial" panose="020B0604020202020204" pitchFamily="34" charset="0"/>
              </a:rPr>
              <a:t> professionals, leveraging industry knowledge and international best practices. </a:t>
            </a:r>
          </a:p>
        </p:txBody>
      </p:sp>
      <p:sp>
        <p:nvSpPr>
          <p:cNvPr id="22" name="TextBox 21">
            <a:extLst>
              <a:ext uri="{FF2B5EF4-FFF2-40B4-BE49-F238E27FC236}">
                <a16:creationId xmlns:a16="http://schemas.microsoft.com/office/drawing/2014/main" id="{89582F0E-CB6E-21F0-6707-26586B48086E}"/>
              </a:ext>
            </a:extLst>
          </p:cNvPr>
          <p:cNvSpPr txBox="1"/>
          <p:nvPr/>
        </p:nvSpPr>
        <p:spPr>
          <a:xfrm>
            <a:off x="647261" y="1757762"/>
            <a:ext cx="10801062" cy="584775"/>
          </a:xfrm>
          <a:prstGeom prst="rect">
            <a:avLst/>
          </a:prstGeom>
          <a:noFill/>
        </p:spPr>
        <p:txBody>
          <a:bodyPr wrap="square" rtlCol="0">
            <a:spAutoFit/>
          </a:bodyPr>
          <a:lstStyle/>
          <a:p>
            <a:pPr marL="0" marR="0" lvl="0" indent="0" algn="just" defTabSz="266700" rtl="0" eaLnBrk="1" fontAlgn="auto" latinLnBrk="0" hangingPunct="1">
              <a:lnSpc>
                <a:spcPct val="100000"/>
              </a:lnSpc>
              <a:spcBef>
                <a:spcPts val="450"/>
              </a:spcBef>
              <a:spcAft>
                <a:spcPts val="0"/>
              </a:spcAft>
              <a:buClrTx/>
              <a:buSzTx/>
              <a:buFontTx/>
              <a:buNone/>
              <a:tabLst/>
              <a:defRPr sz="1500">
                <a:latin typeface="Arial"/>
                <a:ea typeface="Arial"/>
                <a:cs typeface="Arial"/>
                <a:sym typeface="Arial"/>
              </a:defRPr>
            </a:pPr>
            <a:r>
              <a:rPr kumimoji="0" lang="en-US" sz="1600" b="0" i="0" u="none" strike="noStrike" kern="1200" cap="none" spc="0" normalizeH="0" baseline="0" noProof="0" dirty="0">
                <a:ln>
                  <a:noFill/>
                </a:ln>
                <a:solidFill>
                  <a:prstClr val="black"/>
                </a:solidFill>
                <a:effectLst/>
                <a:uLnTx/>
                <a:uFillTx/>
                <a:latin typeface="Calibri"/>
                <a:ea typeface="Arial"/>
                <a:cs typeface="Sakkal Majalla" panose="02000000000000000000" pitchFamily="2" charset="-78"/>
                <a:sym typeface="Arial"/>
              </a:rPr>
              <a:t>GRC360 is pleased to submit this proposal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enable </a:t>
            </a:r>
            <a:r>
              <a:rPr lang="en-US" sz="16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lang="en-US" sz="1600" dirty="0">
                <a:solidFill>
                  <a:srgbClr val="000000"/>
                </a:solidFill>
                <a:latin typeface="Calibri" panose="020F0502020204030204" pitchFamily="34" charset="0"/>
                <a:cs typeface="Sakkal Majalla" panose="02000000000000000000" pitchFamily="2" charset="-78"/>
              </a:rPr>
              <a:t> </a:t>
            </a:r>
            <a:r>
              <a:rPr kumimoji="0" lang="en-US" sz="1600" b="0" i="0" u="none" strike="noStrike" kern="1200" cap="none" spc="0" normalizeH="0" baseline="0" noProof="0" dirty="0">
                <a:ln>
                  <a:noFill/>
                </a:ln>
                <a:solidFill>
                  <a:prstClr val="black"/>
                </a:solidFill>
                <a:effectLst/>
                <a:uLnTx/>
                <a:uFillTx/>
                <a:latin typeface="Calibri"/>
                <a:cs typeface="Sakkal Majalla" panose="02000000000000000000" pitchFamily="2" charset="-78"/>
                <a:sym typeface="Arial"/>
              </a:rPr>
              <a:t>to achieve its objectives. Following are some of our salient features / unique value proposition:</a:t>
            </a:r>
          </a:p>
        </p:txBody>
      </p:sp>
      <p:sp>
        <p:nvSpPr>
          <p:cNvPr id="23" name="Rectangle 159">
            <a:extLst>
              <a:ext uri="{FF2B5EF4-FFF2-40B4-BE49-F238E27FC236}">
                <a16:creationId xmlns:a16="http://schemas.microsoft.com/office/drawing/2014/main" id="{950B25CB-51FF-59E2-13CE-1F6DEEE6B2BB}"/>
              </a:ext>
            </a:extLst>
          </p:cNvPr>
          <p:cNvSpPr txBox="1"/>
          <p:nvPr/>
        </p:nvSpPr>
        <p:spPr>
          <a:xfrm>
            <a:off x="3491698" y="4515464"/>
            <a:ext cx="1421326" cy="1523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is providing top notch Cyber Security services. We have worked on similar assignments at various organizations in the kingdom. Therefore, we are confident to add-value to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lang="en-US" sz="1100" b="1" dirty="0">
                <a:solidFill>
                  <a:srgbClr val="000000"/>
                </a:solidFill>
                <a:latin typeface="Calibri"/>
                <a:cs typeface="Sakkal Majalla" panose="02000000000000000000" pitchFamily="2" charset="-78"/>
              </a:rPr>
              <a:t>.</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t>
            </a:r>
          </a:p>
        </p:txBody>
      </p:sp>
      <p:sp>
        <p:nvSpPr>
          <p:cNvPr id="24" name="Rectangle 159">
            <a:extLst>
              <a:ext uri="{FF2B5EF4-FFF2-40B4-BE49-F238E27FC236}">
                <a16:creationId xmlns:a16="http://schemas.microsoft.com/office/drawing/2014/main" id="{25670AAB-F3A3-503D-380E-4EC8EBAF87D0}"/>
              </a:ext>
            </a:extLst>
          </p:cNvPr>
          <p:cNvSpPr txBox="1"/>
          <p:nvPr/>
        </p:nvSpPr>
        <p:spPr>
          <a:xfrm>
            <a:off x="5178778" y="4515464"/>
            <a:ext cx="1511485" cy="21082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GRC360 views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 as its one of its strategic and prestigious Client in the region. Considering this strategic importance, Senior Management of GRC360 is committed to provide its best resources and attention to ensure successful completion of the engagement. </a:t>
            </a:r>
          </a:p>
        </p:txBody>
      </p:sp>
      <p:sp>
        <p:nvSpPr>
          <p:cNvPr id="25" name="Rectangle 159">
            <a:extLst>
              <a:ext uri="{FF2B5EF4-FFF2-40B4-BE49-F238E27FC236}">
                <a16:creationId xmlns:a16="http://schemas.microsoft.com/office/drawing/2014/main" id="{9234498D-51B6-0EE5-A9D2-7BEE273A3511}"/>
              </a:ext>
            </a:extLst>
          </p:cNvPr>
          <p:cNvSpPr txBox="1"/>
          <p:nvPr/>
        </p:nvSpPr>
        <p:spPr>
          <a:xfrm>
            <a:off x="6911028" y="4482500"/>
            <a:ext cx="1458714"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cs typeface="Arial" panose="020B0604020202020204" pitchFamily="34" charset="0"/>
                <a:sym typeface="Arial"/>
              </a:rPr>
              <a:t>We maintain complete independence in our engagements. </a:t>
            </a:r>
          </a:p>
        </p:txBody>
      </p:sp>
      <p:sp>
        <p:nvSpPr>
          <p:cNvPr id="26" name="Rectangle 159">
            <a:extLst>
              <a:ext uri="{FF2B5EF4-FFF2-40B4-BE49-F238E27FC236}">
                <a16:creationId xmlns:a16="http://schemas.microsoft.com/office/drawing/2014/main" id="{4FAAE328-D0C7-90B7-D0DF-9344B320FE4A}"/>
              </a:ext>
            </a:extLst>
          </p:cNvPr>
          <p:cNvSpPr txBox="1"/>
          <p:nvPr/>
        </p:nvSpPr>
        <p:spPr>
          <a:xfrm>
            <a:off x="8550537" y="4485204"/>
            <a:ext cx="1458714" cy="18620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nSpc>
                <a:spcPct val="90000"/>
              </a:lnSpc>
              <a:defRPr sz="1200">
                <a:latin typeface="Arial"/>
                <a:ea typeface="Arial"/>
                <a:cs typeface="Arial"/>
                <a:sym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Outstanding services at a cost-effective fee. We optimize our fee by assigning experts and actively involving your team to synergize, avoid duplication. Also, we have heavily discounted our fee to start and cherish our relationship with </a:t>
            </a:r>
            <a:r>
              <a:rPr lang="en-US" sz="1100"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 </a:t>
            </a:r>
            <a:r>
              <a:rPr kumimoji="0" lang="en-US" sz="1100" b="0" i="0" u="none" strike="noStrike" kern="1200" cap="none" spc="0" normalizeH="0" baseline="0" noProof="0" dirty="0">
                <a:ln>
                  <a:noFill/>
                </a:ln>
                <a:solidFill>
                  <a:prstClr val="black"/>
                </a:solidFill>
                <a:effectLst/>
                <a:uLnTx/>
                <a:uFillTx/>
                <a:latin typeface="Calibri"/>
                <a:cs typeface="Arial" panose="020B0604020202020204" pitchFamily="34" charset="0"/>
                <a:sym typeface="Arial"/>
              </a:rPr>
              <a:t>.</a:t>
            </a:r>
          </a:p>
        </p:txBody>
      </p:sp>
      <p:grpSp>
        <p:nvGrpSpPr>
          <p:cNvPr id="36" name="Group 35">
            <a:extLst>
              <a:ext uri="{FF2B5EF4-FFF2-40B4-BE49-F238E27FC236}">
                <a16:creationId xmlns:a16="http://schemas.microsoft.com/office/drawing/2014/main" id="{7443D5F0-CF11-DA4C-4320-584064FDB7B4}"/>
              </a:ext>
            </a:extLst>
          </p:cNvPr>
          <p:cNvGrpSpPr/>
          <p:nvPr/>
        </p:nvGrpSpPr>
        <p:grpSpPr>
          <a:xfrm>
            <a:off x="1556792" y="2427744"/>
            <a:ext cx="8635071" cy="1920240"/>
            <a:chOff x="1778464" y="3089565"/>
            <a:chExt cx="8635071" cy="1846659"/>
          </a:xfrm>
        </p:grpSpPr>
        <p:sp>
          <p:nvSpPr>
            <p:cNvPr id="3" name="Rectangle 2">
              <a:extLst>
                <a:ext uri="{FF2B5EF4-FFF2-40B4-BE49-F238E27FC236}">
                  <a16:creationId xmlns:a16="http://schemas.microsoft.com/office/drawing/2014/main" id="{8D434D2F-B102-0C22-F81E-AC2E3A47B9A7}"/>
                </a:ext>
              </a:extLst>
            </p:cNvPr>
            <p:cNvSpPr/>
            <p:nvPr/>
          </p:nvSpPr>
          <p:spPr>
            <a:xfrm>
              <a:off x="2150374" y="4106806"/>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xperienced Resources</a:t>
              </a:r>
            </a:p>
          </p:txBody>
        </p:sp>
        <p:grpSp>
          <p:nvGrpSpPr>
            <p:cNvPr id="7" name="Group 6">
              <a:extLst>
                <a:ext uri="{FF2B5EF4-FFF2-40B4-BE49-F238E27FC236}">
                  <a16:creationId xmlns:a16="http://schemas.microsoft.com/office/drawing/2014/main" id="{A9A31C48-F7D0-B930-74BC-8CF600658E33}"/>
                </a:ext>
              </a:extLst>
            </p:cNvPr>
            <p:cNvGrpSpPr/>
            <p:nvPr/>
          </p:nvGrpSpPr>
          <p:grpSpPr>
            <a:xfrm>
              <a:off x="1778464" y="3089565"/>
              <a:ext cx="8635071" cy="1846659"/>
              <a:chOff x="1551043" y="3112972"/>
              <a:chExt cx="9093168" cy="1971477"/>
            </a:xfrm>
          </p:grpSpPr>
          <p:sp>
            <p:nvSpPr>
              <p:cNvPr id="8" name="Freeform 6">
                <a:extLst>
                  <a:ext uri="{FF2B5EF4-FFF2-40B4-BE49-F238E27FC236}">
                    <a16:creationId xmlns:a16="http://schemas.microsoft.com/office/drawing/2014/main" id="{239492FF-6A4B-01DB-CB11-D770078A763F}"/>
                  </a:ext>
                </a:extLst>
              </p:cNvPr>
              <p:cNvSpPr/>
              <p:nvPr/>
            </p:nvSpPr>
            <p:spPr>
              <a:xfrm>
                <a:off x="15510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9" name="Freeform 7">
                <a:extLst>
                  <a:ext uri="{FF2B5EF4-FFF2-40B4-BE49-F238E27FC236}">
                    <a16:creationId xmlns:a16="http://schemas.microsoft.com/office/drawing/2014/main" id="{5B084388-CE0B-EC1D-E2F6-6B00C544D706}"/>
                  </a:ext>
                </a:extLst>
              </p:cNvPr>
              <p:cNvSpPr/>
              <p:nvPr/>
            </p:nvSpPr>
            <p:spPr>
              <a:xfrm>
                <a:off x="5085325"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0" name="Freeform 8">
                <a:extLst>
                  <a:ext uri="{FF2B5EF4-FFF2-40B4-BE49-F238E27FC236}">
                    <a16:creationId xmlns:a16="http://schemas.microsoft.com/office/drawing/2014/main" id="{077B892F-B83A-97C0-CEB9-6B23037AB131}"/>
                  </a:ext>
                </a:extLst>
              </p:cNvPr>
              <p:cNvSpPr/>
              <p:nvPr/>
            </p:nvSpPr>
            <p:spPr>
              <a:xfrm flipV="1">
                <a:off x="3322217"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1" name="Freeform 9">
                <a:extLst>
                  <a:ext uri="{FF2B5EF4-FFF2-40B4-BE49-F238E27FC236}">
                    <a16:creationId xmlns:a16="http://schemas.microsoft.com/office/drawing/2014/main" id="{E50FCDEA-6B88-00C0-8E22-83B8631C8FB6}"/>
                  </a:ext>
                </a:extLst>
              </p:cNvPr>
              <p:cNvSpPr/>
              <p:nvPr/>
            </p:nvSpPr>
            <p:spPr>
              <a:xfrm>
                <a:off x="862286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2" name="Freeform 10">
                <a:extLst>
                  <a:ext uri="{FF2B5EF4-FFF2-40B4-BE49-F238E27FC236}">
                    <a16:creationId xmlns:a16="http://schemas.microsoft.com/office/drawing/2014/main" id="{C5DB6E4E-8DEC-CD19-F7DB-69879886C11B}"/>
                  </a:ext>
                </a:extLst>
              </p:cNvPr>
              <p:cNvSpPr/>
              <p:nvPr/>
            </p:nvSpPr>
            <p:spPr>
              <a:xfrm flipV="1">
                <a:off x="6848432" y="3112973"/>
                <a:ext cx="2021351" cy="985738"/>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accent3">
                  <a:lumMod val="60000"/>
                  <a:lumOff val="40000"/>
                  <a:alpha val="25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3" name="Freeform 11">
                <a:extLst>
                  <a:ext uri="{FF2B5EF4-FFF2-40B4-BE49-F238E27FC236}">
                    <a16:creationId xmlns:a16="http://schemas.microsoft.com/office/drawing/2014/main" id="{5EC593A4-CCE3-C9AA-09D3-0667BB4A1109}"/>
                  </a:ext>
                </a:extLst>
              </p:cNvPr>
              <p:cNvSpPr/>
              <p:nvPr/>
            </p:nvSpPr>
            <p:spPr>
              <a:xfrm>
                <a:off x="3323843"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a:ln>
                      <a:noFill/>
                    </a:ln>
                    <a:solidFill>
                      <a:srgbClr val="FFFFFF"/>
                    </a:solidFill>
                    <a:effectLst/>
                    <a:uLnTx/>
                    <a:uFillTx/>
                    <a:latin typeface="Calibri"/>
                    <a:ea typeface="+mn-ea"/>
                    <a:cs typeface="Arial"/>
                  </a:rPr>
                  <a:t>0</a:t>
                </a: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4" name="Freeform 12">
                <a:extLst>
                  <a:ext uri="{FF2B5EF4-FFF2-40B4-BE49-F238E27FC236}">
                    <a16:creationId xmlns:a16="http://schemas.microsoft.com/office/drawing/2014/main" id="{4863EAA2-9C5E-8978-A582-25761D3D8459}"/>
                  </a:ext>
                </a:extLst>
              </p:cNvPr>
              <p:cNvSpPr/>
              <p:nvPr/>
            </p:nvSpPr>
            <p:spPr>
              <a:xfrm flipV="1">
                <a:off x="1553450" y="3112972"/>
                <a:ext cx="2021351" cy="985740"/>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5" name="Freeform 13">
                <a:extLst>
                  <a:ext uri="{FF2B5EF4-FFF2-40B4-BE49-F238E27FC236}">
                    <a16:creationId xmlns:a16="http://schemas.microsoft.com/office/drawing/2014/main" id="{4B3B5763-F076-F58C-FD0E-095D8A214D77}"/>
                  </a:ext>
                </a:extLst>
              </p:cNvPr>
              <p:cNvSpPr/>
              <p:nvPr/>
            </p:nvSpPr>
            <p:spPr>
              <a:xfrm>
                <a:off x="6854270" y="4098710"/>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chemeClr val="tx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6" name="Freeform 19">
                <a:extLst>
                  <a:ext uri="{FF2B5EF4-FFF2-40B4-BE49-F238E27FC236}">
                    <a16:creationId xmlns:a16="http://schemas.microsoft.com/office/drawing/2014/main" id="{63F475CB-BC66-3570-4A1C-15E0448ADFCD}"/>
                  </a:ext>
                </a:extLst>
              </p:cNvPr>
              <p:cNvSpPr/>
              <p:nvPr/>
            </p:nvSpPr>
            <p:spPr>
              <a:xfrm flipV="1">
                <a:off x="5088221"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sp>
            <p:nvSpPr>
              <p:cNvPr id="17" name="Freeform 20">
                <a:extLst>
                  <a:ext uri="{FF2B5EF4-FFF2-40B4-BE49-F238E27FC236}">
                    <a16:creationId xmlns:a16="http://schemas.microsoft.com/office/drawing/2014/main" id="{72C07702-D4A1-7306-E78C-8F958602A232}"/>
                  </a:ext>
                </a:extLst>
              </p:cNvPr>
              <p:cNvSpPr/>
              <p:nvPr/>
            </p:nvSpPr>
            <p:spPr>
              <a:xfrm flipV="1">
                <a:off x="8620228" y="3112973"/>
                <a:ext cx="2021351" cy="985739"/>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CCB76A"/>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FFFFFF"/>
                  </a:solidFill>
                  <a:effectLst/>
                  <a:uLnTx/>
                  <a:uFillTx/>
                  <a:latin typeface="Calibri"/>
                  <a:ea typeface="+mn-ea"/>
                  <a:cs typeface="Arial"/>
                </a:endParaRPr>
              </a:p>
            </p:txBody>
          </p:sp>
        </p:grpSp>
        <p:sp>
          <p:nvSpPr>
            <p:cNvPr id="18" name="Rectangle 17">
              <a:extLst>
                <a:ext uri="{FF2B5EF4-FFF2-40B4-BE49-F238E27FC236}">
                  <a16:creationId xmlns:a16="http://schemas.microsoft.com/office/drawing/2014/main" id="{49AA4908-4617-6791-272E-138F072028F4}"/>
                </a:ext>
              </a:extLst>
            </p:cNvPr>
            <p:cNvSpPr/>
            <p:nvPr/>
          </p:nvSpPr>
          <p:spPr>
            <a:xfrm>
              <a:off x="3832179" y="3583821"/>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Credentials</a:t>
              </a:r>
            </a:p>
          </p:txBody>
        </p:sp>
        <p:sp>
          <p:nvSpPr>
            <p:cNvPr id="19" name="Rectangle 18">
              <a:extLst>
                <a:ext uri="{FF2B5EF4-FFF2-40B4-BE49-F238E27FC236}">
                  <a16:creationId xmlns:a16="http://schemas.microsoft.com/office/drawing/2014/main" id="{04A0FB41-D8A4-5402-EE78-C14FBEA8350C}"/>
                </a:ext>
              </a:extLst>
            </p:cNvPr>
            <p:cNvSpPr/>
            <p:nvPr/>
          </p:nvSpPr>
          <p:spPr>
            <a:xfrm>
              <a:off x="5526540" y="4117438"/>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ur Commitment</a:t>
              </a:r>
            </a:p>
          </p:txBody>
        </p:sp>
        <p:sp>
          <p:nvSpPr>
            <p:cNvPr id="20" name="Rectangle 19">
              <a:extLst>
                <a:ext uri="{FF2B5EF4-FFF2-40B4-BE49-F238E27FC236}">
                  <a16:creationId xmlns:a16="http://schemas.microsoft.com/office/drawing/2014/main" id="{F8E3B253-A4EB-E724-1981-3D960A4500D9}"/>
                </a:ext>
              </a:extLst>
            </p:cNvPr>
            <p:cNvSpPr/>
            <p:nvPr/>
          </p:nvSpPr>
          <p:spPr>
            <a:xfrm>
              <a:off x="7192761" y="3657323"/>
              <a:ext cx="1189016" cy="27699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B76A"/>
                  </a:solidFill>
                  <a:effectLst/>
                  <a:uLnTx/>
                  <a:uFillTx/>
                  <a:latin typeface="Calibri"/>
                  <a:ea typeface="+mn-ea"/>
                  <a:cs typeface="Arial" panose="020B0604020202020204" pitchFamily="34" charset="0"/>
                </a:rPr>
                <a:t>Independence</a:t>
              </a:r>
            </a:p>
          </p:txBody>
        </p:sp>
        <p:sp>
          <p:nvSpPr>
            <p:cNvPr id="21" name="Rectangle 20">
              <a:extLst>
                <a:ext uri="{FF2B5EF4-FFF2-40B4-BE49-F238E27FC236}">
                  <a16:creationId xmlns:a16="http://schemas.microsoft.com/office/drawing/2014/main" id="{4F9767DB-2A89-CC46-BCC9-73FF04CF8784}"/>
                </a:ext>
              </a:extLst>
            </p:cNvPr>
            <p:cNvSpPr/>
            <p:nvPr/>
          </p:nvSpPr>
          <p:spPr>
            <a:xfrm>
              <a:off x="8852610" y="4118357"/>
              <a:ext cx="1189016" cy="4616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st Effectiveness</a:t>
              </a:r>
            </a:p>
          </p:txBody>
        </p:sp>
        <p:pic>
          <p:nvPicPr>
            <p:cNvPr id="27" name="Graphic 26" descr="Users with solid fill">
              <a:extLst>
                <a:ext uri="{FF2B5EF4-FFF2-40B4-BE49-F238E27FC236}">
                  <a16:creationId xmlns:a16="http://schemas.microsoft.com/office/drawing/2014/main" id="{F4B00CEA-310A-8B32-DBF2-C3865B3046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19645" y="3518877"/>
              <a:ext cx="640080" cy="640080"/>
            </a:xfrm>
            <a:prstGeom prst="rect">
              <a:avLst/>
            </a:prstGeom>
          </p:spPr>
        </p:pic>
        <p:pic>
          <p:nvPicPr>
            <p:cNvPr id="28" name="Graphic 27" descr="Handshake with solid fill">
              <a:extLst>
                <a:ext uri="{FF2B5EF4-FFF2-40B4-BE49-F238E27FC236}">
                  <a16:creationId xmlns:a16="http://schemas.microsoft.com/office/drawing/2014/main" id="{D9FB547E-1341-7ECD-1EA4-9B042103EB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5195" y="3529509"/>
              <a:ext cx="640080" cy="640080"/>
            </a:xfrm>
            <a:prstGeom prst="rect">
              <a:avLst/>
            </a:prstGeom>
          </p:spPr>
        </p:pic>
        <p:pic>
          <p:nvPicPr>
            <p:cNvPr id="29" name="Graphic 28" descr="Badge Tick with solid fill">
              <a:extLst>
                <a:ext uri="{FF2B5EF4-FFF2-40B4-BE49-F238E27FC236}">
                  <a16:creationId xmlns:a16="http://schemas.microsoft.com/office/drawing/2014/main" id="{65F31BFE-FAF0-9684-FBDF-2308F68D5B3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08827" y="3903544"/>
              <a:ext cx="640080" cy="640080"/>
            </a:xfrm>
            <a:prstGeom prst="rect">
              <a:avLst/>
            </a:prstGeom>
          </p:spPr>
        </p:pic>
        <p:pic>
          <p:nvPicPr>
            <p:cNvPr id="30" name="Graphic 29" descr="Gears with solid fill">
              <a:extLst>
                <a:ext uri="{FF2B5EF4-FFF2-40B4-BE49-F238E27FC236}">
                  <a16:creationId xmlns:a16="http://schemas.microsoft.com/office/drawing/2014/main" id="{504F0F98-8194-1A0D-3A88-D292079F2FE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0247" y="3905704"/>
              <a:ext cx="640080" cy="640080"/>
            </a:xfrm>
            <a:prstGeom prst="rect">
              <a:avLst/>
            </a:prstGeom>
          </p:spPr>
        </p:pic>
        <p:grpSp>
          <p:nvGrpSpPr>
            <p:cNvPr id="31" name="Savings" descr="{&quot;Key&quot;:&quot;POWER_USER_SHAPE_ICON&quot;,&quot;Value&quot;:&quot;POWER_USER_SHAPE_ICON_STYLE_1&quot;}">
              <a:extLst>
                <a:ext uri="{FF2B5EF4-FFF2-40B4-BE49-F238E27FC236}">
                  <a16:creationId xmlns:a16="http://schemas.microsoft.com/office/drawing/2014/main" id="{829C1C2A-AB8A-6A15-E513-116277084C41}"/>
                </a:ext>
              </a:extLst>
            </p:cNvPr>
            <p:cNvGrpSpPr>
              <a:grpSpLocks noChangeAspect="1"/>
            </p:cNvGrpSpPr>
            <p:nvPr>
              <p:custDataLst>
                <p:tags r:id="rId1"/>
              </p:custDataLst>
            </p:nvPr>
          </p:nvGrpSpPr>
          <p:grpSpPr>
            <a:xfrm>
              <a:off x="9132081" y="3626533"/>
              <a:ext cx="640080" cy="510820"/>
              <a:chOff x="2079464" y="1312751"/>
              <a:chExt cx="1690478" cy="1349097"/>
            </a:xfrm>
            <a:solidFill>
              <a:schemeClr val="tx1"/>
            </a:solidFill>
          </p:grpSpPr>
          <p:grpSp>
            <p:nvGrpSpPr>
              <p:cNvPr id="32" name="POWER_USER_ID_ICONS_Food_Bank">
                <a:extLst>
                  <a:ext uri="{FF2B5EF4-FFF2-40B4-BE49-F238E27FC236}">
                    <a16:creationId xmlns:a16="http://schemas.microsoft.com/office/drawing/2014/main" id="{80C42019-2E6D-989B-0B85-BF3117906320}"/>
                  </a:ext>
                </a:extLst>
              </p:cNvPr>
              <p:cNvGrpSpPr>
                <a:grpSpLocks noChangeAspect="1"/>
              </p:cNvGrpSpPr>
              <p:nvPr>
                <p:custDataLst>
                  <p:tags r:id="rId2"/>
                </p:custDataLst>
              </p:nvPr>
            </p:nvGrpSpPr>
            <p:grpSpPr bwMode="auto">
              <a:xfrm>
                <a:off x="2079464" y="1474175"/>
                <a:ext cx="1690478" cy="1187673"/>
                <a:chOff x="8" y="205"/>
                <a:chExt cx="390" cy="274"/>
              </a:xfrm>
              <a:grpFill/>
            </p:grpSpPr>
            <p:sp>
              <p:nvSpPr>
                <p:cNvPr id="34" name="Food_Bank">
                  <a:extLst>
                    <a:ext uri="{FF2B5EF4-FFF2-40B4-BE49-F238E27FC236}">
                      <a16:creationId xmlns:a16="http://schemas.microsoft.com/office/drawing/2014/main" id="{2B5F8CF9-4E60-FF2B-3C7C-8FF7E4190B32}"/>
                    </a:ext>
                  </a:extLst>
                </p:cNvPr>
                <p:cNvSpPr>
                  <a:spLocks/>
                </p:cNvSpPr>
                <p:nvPr>
                  <p:custDataLst>
                    <p:tags r:id="rId4"/>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sp>
              <p:nvSpPr>
                <p:cNvPr id="35" name="Food_Bank">
                  <a:extLst>
                    <a:ext uri="{FF2B5EF4-FFF2-40B4-BE49-F238E27FC236}">
                      <a16:creationId xmlns:a16="http://schemas.microsoft.com/office/drawing/2014/main" id="{C01B6B23-FFEE-B7BD-2904-B288C9D89476}"/>
                    </a:ext>
                  </a:extLst>
                </p:cNvPr>
                <p:cNvSpPr>
                  <a:spLocks/>
                </p:cNvSpPr>
                <p:nvPr>
                  <p:custDataLst>
                    <p:tags r:id="rId5"/>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sp>
            <p:nvSpPr>
              <p:cNvPr id="33" name="Bill2">
                <a:extLst>
                  <a:ext uri="{FF2B5EF4-FFF2-40B4-BE49-F238E27FC236}">
                    <a16:creationId xmlns:a16="http://schemas.microsoft.com/office/drawing/2014/main" id="{3BDD7577-260F-3393-3B08-1F05AD04483D}"/>
                  </a:ext>
                </a:extLst>
              </p:cNvPr>
              <p:cNvSpPr>
                <a:spLocks noChangeAspect="1" noEditPoints="1"/>
              </p:cNvSpPr>
              <p:nvPr>
                <p:custDataLst>
                  <p:tags r:id="rId3"/>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endParaRPr>
              </a:p>
            </p:txBody>
          </p:sp>
        </p:grpSp>
      </p:grpSp>
    </p:spTree>
    <p:extLst>
      <p:ext uri="{BB962C8B-B14F-4D97-AF65-F5344CB8AC3E}">
        <p14:creationId xmlns:p14="http://schemas.microsoft.com/office/powerpoint/2010/main" val="1801207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bg2">
              <a:lumMod val="10000"/>
            </a:schemeClr>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TABLE OF CONTENTS</a:t>
            </a:r>
            <a:endParaRPr lang="en-GB" sz="4000" b="1">
              <a:solidFill>
                <a:schemeClr val="bg1"/>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26A499F3-49DA-CD07-57F0-A6ECE6D32701}"/>
              </a:ext>
            </a:extLst>
          </p:cNvPr>
          <p:cNvGraphicFramePr>
            <a:graphicFrameLocks noGrp="1"/>
          </p:cNvGraphicFramePr>
          <p:nvPr>
            <p:extLst>
              <p:ext uri="{D42A27DB-BD31-4B8C-83A1-F6EECF244321}">
                <p14:modId xmlns:p14="http://schemas.microsoft.com/office/powerpoint/2010/main" val="3538177311"/>
              </p:ext>
            </p:extLst>
          </p:nvPr>
        </p:nvGraphicFramePr>
        <p:xfrm>
          <a:off x="0" y="1621971"/>
          <a:ext cx="12175677" cy="3356618"/>
        </p:xfrm>
        <a:graphic>
          <a:graphicData uri="http://schemas.openxmlformats.org/drawingml/2006/table">
            <a:tbl>
              <a:tblPr firstRow="1" bandRow="1"/>
              <a:tblGrid>
                <a:gridCol w="1438943">
                  <a:extLst>
                    <a:ext uri="{9D8B030D-6E8A-4147-A177-3AD203B41FA5}">
                      <a16:colId xmlns:a16="http://schemas.microsoft.com/office/drawing/2014/main" val="2854472208"/>
                    </a:ext>
                  </a:extLst>
                </a:gridCol>
                <a:gridCol w="7881300">
                  <a:extLst>
                    <a:ext uri="{9D8B030D-6E8A-4147-A177-3AD203B41FA5}">
                      <a16:colId xmlns:a16="http://schemas.microsoft.com/office/drawing/2014/main" val="2571585929"/>
                    </a:ext>
                  </a:extLst>
                </a:gridCol>
                <a:gridCol w="2855434">
                  <a:extLst>
                    <a:ext uri="{9D8B030D-6E8A-4147-A177-3AD203B41FA5}">
                      <a16:colId xmlns:a16="http://schemas.microsoft.com/office/drawing/2014/main" val="464968268"/>
                    </a:ext>
                  </a:extLst>
                </a:gridCol>
              </a:tblGrid>
              <a:tr h="3782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Sr. No.</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rPr>
                        <a:t>Section</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a:solidFill>
                            <a:schemeClr val="tx1"/>
                          </a:solidFill>
                        </a:rPr>
                        <a:t>Mapping</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CCB76A"/>
                    </a:solidFill>
                  </a:tcPr>
                </a:tc>
                <a:extLst>
                  <a:ext uri="{0D108BD9-81ED-4DB2-BD59-A6C34878D82A}">
                    <a16:rowId xmlns:a16="http://schemas.microsoft.com/office/drawing/2014/main" val="3277941295"/>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1</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mpany Profil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03</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93815426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t>2</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Project Overview</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a:solidFill>
                            <a:schemeClr val="tx1"/>
                          </a:solidFill>
                        </a:rPr>
                        <a:t>20</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5650170"/>
                  </a:ext>
                </a:extLst>
              </a:tr>
              <a:tr h="315211">
                <a:tc>
                  <a:txBody>
                    <a:bodyPr/>
                    <a:lstStyle/>
                    <a:p>
                      <a:pPr algn="ctr"/>
                      <a:r>
                        <a:rPr lang="en-US" sz="1600" dirty="0"/>
                        <a:t>3</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Introduction to VAP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3</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1268430"/>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4</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Delivery Methodology</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26</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51549523"/>
                  </a:ext>
                </a:extLst>
              </a:tr>
              <a:tr h="315211">
                <a:tc>
                  <a:txBody>
                    <a:bodyPr/>
                    <a:lstStyle/>
                    <a:p>
                      <a:pPr algn="ctr"/>
                      <a:r>
                        <a:rPr lang="en-US" sz="1600" dirty="0"/>
                        <a:t>5</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algn="l"/>
                      <a:r>
                        <a:rPr lang="en-US" sz="1600">
                          <a:solidFill>
                            <a:schemeClr val="tx1"/>
                          </a:solidFill>
                        </a:rPr>
                        <a:t>Project Deliverables</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6</a:t>
                      </a:r>
                      <a:endParaRPr lang="en-US" dirty="0"/>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39371442"/>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6</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solidFill>
                            <a:schemeClr val="tx1"/>
                          </a:solidFill>
                        </a:rPr>
                        <a:t>Project Timeline</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38</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409744456"/>
                  </a:ext>
                </a:extLst>
              </a:tr>
              <a:tr h="315211">
                <a:tc>
                  <a:txBody>
                    <a:bodyPr/>
                    <a:lstStyle/>
                    <a:p>
                      <a:pPr algn="ctr"/>
                      <a:r>
                        <a:rPr lang="en-US" sz="1600" dirty="0"/>
                        <a:t>7</a:t>
                      </a:r>
                    </a:p>
                  </a:txBody>
                  <a:tcPr marL="85725" marR="85725" marT="42863" marB="42863" anchor="ctr">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a:solidFill>
                            <a:schemeClr val="tx1"/>
                          </a:solidFill>
                        </a:rPr>
                        <a:t>Project Management</a:t>
                      </a:r>
                    </a:p>
                  </a:txBody>
                  <a:tcPr marL="85725" marR="85725" marT="42863" marB="42863"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40</a:t>
                      </a:r>
                    </a:p>
                  </a:txBody>
                  <a:tcPr marL="85725" marR="85725" marT="42863" marB="42863" anchor="ctr">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85261"/>
                  </a:ext>
                </a:extLst>
              </a:tr>
              <a:tr h="315211">
                <a:tc>
                  <a:txBody>
                    <a:bodyPr/>
                    <a:lstStyle/>
                    <a:p>
                      <a:pPr lvl="0" algn="ctr">
                        <a:buNone/>
                      </a:pPr>
                      <a:r>
                        <a:rPr lang="en-US" sz="1600" dirty="0"/>
                        <a:t>8</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lvl="0" algn="l">
                        <a:buNone/>
                      </a:pPr>
                      <a:r>
                        <a:rPr lang="en-US" sz="1600" dirty="0"/>
                        <a:t>Financials</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tc>
                  <a:txBody>
                    <a:bodyPr/>
                    <a:lstStyle/>
                    <a:p>
                      <a:pPr marL="0" lvl="0" indent="0" algn="ctr" defTabSz="914400">
                        <a:lnSpc>
                          <a:spcPct val="100000"/>
                        </a:lnSpc>
                        <a:spcBef>
                          <a:spcPts val="0"/>
                        </a:spcBef>
                        <a:spcAft>
                          <a:spcPts val="0"/>
                        </a:spcAft>
                        <a:buNone/>
                        <a:tabLst/>
                        <a:defRPr/>
                      </a:pPr>
                      <a:r>
                        <a:rPr lang="en-US" sz="1600" dirty="0">
                          <a:solidFill>
                            <a:schemeClr val="tx1"/>
                          </a:solidFill>
                        </a:rPr>
                        <a:t>47</a:t>
                      </a:r>
                    </a:p>
                  </a:txBody>
                  <a:tcPr marL="85725" marR="85725" marT="42862" marB="42862" anchor="ctr">
                    <a:lnL w="12700">
                      <a:solidFill>
                        <a:sysClr val="windowText" lastClr="000000"/>
                      </a:solidFill>
                    </a:lnL>
                    <a:lnR w="12700">
                      <a:solidFill>
                        <a:sysClr val="windowText" lastClr="000000"/>
                      </a:solidFill>
                    </a:lnR>
                    <a:lnT w="12700">
                      <a:solidFill>
                        <a:sysClr val="windowText" lastClr="000000"/>
                      </a:solidFill>
                    </a:lnT>
                    <a:lnB w="12700">
                      <a:solidFill>
                        <a:sysClr val="windowText" lastClr="000000"/>
                      </a:solidFill>
                    </a:lnB>
                    <a:lnTlToBr w="0">
                      <a:noFill/>
                    </a:lnTlToBr>
                    <a:lnBlToTr w="0">
                      <a:noFill/>
                    </a:lnBlToTr>
                    <a:noFill/>
                  </a:tcPr>
                </a:tc>
                <a:extLst>
                  <a:ext uri="{0D108BD9-81ED-4DB2-BD59-A6C34878D82A}">
                    <a16:rowId xmlns:a16="http://schemas.microsoft.com/office/drawing/2014/main" val="55893914"/>
                  </a:ext>
                </a:extLst>
              </a:tr>
              <a:tr h="31521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dirty="0"/>
                        <a:t>9</a:t>
                      </a:r>
                      <a:endParaRPr lang="en-US" dirty="0"/>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600"/>
                        <a:t>Contact Us</a:t>
                      </a: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49</a:t>
                      </a:r>
                      <a:endParaRPr lang="en-US" sz="1600" dirty="0">
                        <a:solidFill>
                          <a:schemeClr val="tx1"/>
                        </a:solidFill>
                      </a:endParaRPr>
                    </a:p>
                  </a:txBody>
                  <a:tcPr marL="85725" marR="85725" marT="42863" marB="4286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538589570"/>
                  </a:ext>
                </a:extLst>
              </a:tr>
            </a:tbl>
          </a:graphicData>
        </a:graphic>
      </p:graphicFrame>
      <p:sp>
        <p:nvSpPr>
          <p:cNvPr id="5" name="Freeform 12">
            <a:extLst>
              <a:ext uri="{FF2B5EF4-FFF2-40B4-BE49-F238E27FC236}">
                <a16:creationId xmlns:a16="http://schemas.microsoft.com/office/drawing/2014/main" id="{0E55C034-71E2-6455-CE1B-F192861ACDD4}"/>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667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text&#10;&#10;Description automatically generated">
            <a:extLst>
              <a:ext uri="{FF2B5EF4-FFF2-40B4-BE49-F238E27FC236}">
                <a16:creationId xmlns:a16="http://schemas.microsoft.com/office/drawing/2014/main" id="{874AF28D-1328-7ECD-A4B3-22D91CCDA30B}"/>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a:stretch/>
        </p:blipFill>
        <p:spPr>
          <a:xfrm>
            <a:off x="7991339" y="334"/>
            <a:ext cx="3332162" cy="6075363"/>
          </a:xfrm>
        </p:spPr>
      </p:pic>
      <p:pic>
        <p:nvPicPr>
          <p:cNvPr id="6" name="Picture Placeholder 5" descr="Background pattern&#10;&#10;Description automatically generated">
            <a:extLst>
              <a:ext uri="{FF2B5EF4-FFF2-40B4-BE49-F238E27FC236}">
                <a16:creationId xmlns:a16="http://schemas.microsoft.com/office/drawing/2014/main" id="{6C5ADFFF-D8F0-2970-57AB-927FCC093766}"/>
              </a:ext>
            </a:extLst>
          </p:cNvPr>
          <p:cNvPicPr>
            <a:picLocks noGrp="1" noChangeAspect="1"/>
          </p:cNvPicPr>
          <p:nvPr>
            <p:ph type="pic" sz="quarter" idx="11"/>
          </p:nvPr>
        </p:nvPicPr>
        <p:blipFill rotWithShape="1">
          <a:blip r:embed="rId3">
            <a:biLevel thresh="25000"/>
            <a:extLst>
              <a:ext uri="{BEBA8EAE-BF5A-486C-A8C5-ECC9F3942E4B}">
                <a14:imgProps xmlns:a14="http://schemas.microsoft.com/office/drawing/2010/main">
                  <a14:imgLayer r:embed="rId4">
                    <a14:imgEffect>
                      <a14:colorTemperature colorTemp="7037"/>
                    </a14:imgEffect>
                    <a14:imgEffect>
                      <a14:saturation sat="23000"/>
                    </a14:imgEffect>
                  </a14:imgLayer>
                </a14:imgProps>
              </a:ext>
              <a:ext uri="{28A0092B-C50C-407E-A947-70E740481C1C}">
                <a14:useLocalDpi xmlns:a14="http://schemas.microsoft.com/office/drawing/2010/main" val="0"/>
              </a:ext>
            </a:extLst>
          </a:blip>
          <a:srcRect/>
          <a:stretch/>
        </p:blipFill>
        <p:spPr>
          <a:xfrm>
            <a:off x="7716766" y="1097361"/>
            <a:ext cx="3881308" cy="3881308"/>
          </a:xfrm>
        </p:spPr>
      </p:pic>
      <p:sp>
        <p:nvSpPr>
          <p:cNvPr id="4" name="Text Placeholder 3">
            <a:extLst>
              <a:ext uri="{FF2B5EF4-FFF2-40B4-BE49-F238E27FC236}">
                <a16:creationId xmlns:a16="http://schemas.microsoft.com/office/drawing/2014/main" id="{6510F2B9-8122-8AD9-9182-9AB5054A4EE9}"/>
              </a:ext>
            </a:extLst>
          </p:cNvPr>
          <p:cNvSpPr>
            <a:spLocks noGrp="1"/>
          </p:cNvSpPr>
          <p:nvPr>
            <p:ph type="body" sz="quarter" idx="12"/>
          </p:nvPr>
        </p:nvSpPr>
        <p:spPr/>
        <p:txBody>
          <a:bodyPr/>
          <a:lstStyle/>
          <a:p>
            <a:r>
              <a:rPr lang="en-US"/>
              <a:t>PROJECT OVERVIEW</a:t>
            </a:r>
            <a:endParaRPr lang="en-GB"/>
          </a:p>
        </p:txBody>
      </p:sp>
    </p:spTree>
    <p:extLst>
      <p:ext uri="{BB962C8B-B14F-4D97-AF65-F5344CB8AC3E}">
        <p14:creationId xmlns:p14="http://schemas.microsoft.com/office/powerpoint/2010/main" val="350390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3">
            <a:extLst>
              <a:ext uri="{FF2B5EF4-FFF2-40B4-BE49-F238E27FC236}">
                <a16:creationId xmlns:a16="http://schemas.microsoft.com/office/drawing/2014/main" id="{25BE53B4-A9A2-7755-F0DC-D1A7C102C417}"/>
              </a:ext>
            </a:extLst>
          </p:cNvPr>
          <p:cNvSpPr/>
          <p:nvPr/>
        </p:nvSpPr>
        <p:spPr>
          <a:xfrm>
            <a:off x="-14514" y="0"/>
            <a:ext cx="12206514" cy="1520849"/>
          </a:xfrm>
          <a:prstGeom prst="rect">
            <a:avLst/>
          </a:prstGeom>
          <a:solidFill>
            <a:schemeClr val="tx1"/>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n-ea"/>
                <a:cs typeface="+mn-cs"/>
              </a:rPr>
              <a:t>EXECUTIVE SUMMARY</a:t>
            </a:r>
            <a:endParaRPr kumimoji="0" lang="en-GB"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Placeholder 5" descr="A person holding a tablet&#10;&#10;Description automatically generated with low confidence">
            <a:extLst>
              <a:ext uri="{FF2B5EF4-FFF2-40B4-BE49-F238E27FC236}">
                <a16:creationId xmlns:a16="http://schemas.microsoft.com/office/drawing/2014/main" id="{8B94906A-1875-AF9F-1DF9-9050EF35049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a:xfrm>
            <a:off x="7856957" y="12879"/>
            <a:ext cx="4347922" cy="6870879"/>
          </a:xfrm>
        </p:spPr>
      </p:pic>
      <p:sp>
        <p:nvSpPr>
          <p:cNvPr id="3" name="TextBox 6">
            <a:extLst>
              <a:ext uri="{FF2B5EF4-FFF2-40B4-BE49-F238E27FC236}">
                <a16:creationId xmlns:a16="http://schemas.microsoft.com/office/drawing/2014/main" id="{CDE7D77E-6DAA-CF33-0531-C60DED053A2A}"/>
              </a:ext>
            </a:extLst>
          </p:cNvPr>
          <p:cNvSpPr txBox="1"/>
          <p:nvPr/>
        </p:nvSpPr>
        <p:spPr>
          <a:xfrm>
            <a:off x="702128" y="2084387"/>
            <a:ext cx="6418944" cy="2769989"/>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C360 renders services related to cyber security for assessing, analyzing and improving information security of our valuable </a:t>
            </a:r>
            <a:r>
              <a:rPr lang="en-US" spc="14" dirty="0">
                <a:solidFill>
                  <a:srgbClr val="000000"/>
                </a:solidFill>
                <a:latin typeface="Calibri" panose="020F0502020204030204" pitchFamily="34" charset="0"/>
                <a:cs typeface="Calibri" panose="020F0502020204030204" pitchFamily="34" charset="0"/>
              </a:rPr>
              <a:t>clients</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 help in providing solutions that could lead to the development of sustainable, efficient and resilient syst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is presentation provides the holistic approach of methodology to conduct </a:t>
            </a:r>
            <a:r>
              <a:rPr kumimoji="0" lang="en-US" sz="1800" b="1"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mmy Service for </a:t>
            </a:r>
            <a:r>
              <a:rPr lang="en-US" b="0" i="0" kern="1200" spc="0" baseline="0" dirty="0">
                <a:ln>
                  <a:noFill/>
                </a:ln>
                <a:solidFill>
                  <a:srgbClr val="000000"/>
                </a:solidFill>
                <a:effectLst/>
                <a:latin typeface="Calibri" panose="020F0502020204030204" pitchFamily="34" charset="0"/>
                <a:ea typeface="+mn-ea"/>
                <a:cs typeface="Sakkal Majalla" panose="02000000000000000000" pitchFamily="2" charset="-78"/>
              </a:rPr>
              <a:t>Dummy Company</a:t>
            </a: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Times New Roman" panose="02020603050405020304" pitchFamily="18" charset="0"/>
              </a:rPr>
              <a:t>. </a:t>
            </a:r>
            <a:r>
              <a:rPr kumimoji="0" lang="en-US" sz="1800" b="0" i="0" u="none" strike="noStrike" kern="1200" cap="none" spc="14"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ur extensive experience ensures our Clients are better able to withstand the impacts of evolving cyber threats and comply with related standards and regulations.</a:t>
            </a:r>
            <a:endParaRPr kumimoji="0" lang="en-US" sz="1800" b="0" i="0" u="none" strike="noStrike" kern="1200" cap="none" spc="16"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Freeform 12">
            <a:extLst>
              <a:ext uri="{FF2B5EF4-FFF2-40B4-BE49-F238E27FC236}">
                <a16:creationId xmlns:a16="http://schemas.microsoft.com/office/drawing/2014/main" id="{5E5C2F17-4099-72C0-9707-3344ED377835}"/>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 name="Freeform 11">
            <a:extLst>
              <a:ext uri="{FF2B5EF4-FFF2-40B4-BE49-F238E27FC236}">
                <a16:creationId xmlns:a16="http://schemas.microsoft.com/office/drawing/2014/main" id="{14C6FACD-6935-6620-05CA-9CDC12115CF0}"/>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23E3070D-C76D-739D-D6E0-925C0097FE9A}"/>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9357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DF1051-FB7A-286E-D725-D3CDED3706CD}"/>
              </a:ext>
            </a:extLst>
          </p:cNvPr>
          <p:cNvSpPr>
            <a:spLocks noGrp="1"/>
          </p:cNvSpPr>
          <p:nvPr>
            <p:ph type="body" sz="quarter" idx="14"/>
          </p:nvPr>
        </p:nvSpPr>
        <p:spPr/>
        <p:txBody>
          <a:bodyPr>
            <a:normAutofit/>
          </a:bodyPr>
          <a:lstStyle/>
          <a:p>
            <a:pPr defTabSz="928688"/>
            <a:r>
              <a:rPr lang="en-US" sz="3600" dirty="0">
                <a:solidFill>
                  <a:schemeClr val="accent1"/>
                </a:solidFill>
              </a:rPr>
              <a:t>PROJECT SCOPE</a:t>
            </a:r>
            <a:endParaRPr lang="en-GB" sz="3600" dirty="0">
              <a:solidFill>
                <a:schemeClr val="accent1"/>
              </a:solidFill>
            </a:endParaRPr>
          </a:p>
        </p:txBody>
      </p:sp>
      <p:pic>
        <p:nvPicPr>
          <p:cNvPr id="25" name="Picture Placeholder 24" descr="A picture containing text&#10;&#10;Description automatically generated">
            <a:extLst>
              <a:ext uri="{FF2B5EF4-FFF2-40B4-BE49-F238E27FC236}">
                <a16:creationId xmlns:a16="http://schemas.microsoft.com/office/drawing/2014/main" id="{68C2BADC-CD6F-F528-5084-52B37F731FB7}"/>
              </a:ext>
            </a:extLst>
          </p:cNvPr>
          <p:cNvPicPr>
            <a:picLocks noGrp="1" noChangeAspect="1"/>
          </p:cNvPicPr>
          <p:nvPr>
            <p:ph type="pic" sz="quarter" idx="15"/>
          </p:nvPr>
        </p:nvPicPr>
        <p:blipFill rotWithShape="1">
          <a:blip r:embed="rId2" cstate="hq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5248251" y="-8885"/>
            <a:ext cx="5847380" cy="2676935"/>
          </a:xfrm>
        </p:spPr>
      </p:pic>
      <p:pic>
        <p:nvPicPr>
          <p:cNvPr id="21" name="Picture Placeholder 20" descr="Diagram&#10;&#10;Description automatically generated">
            <a:extLst>
              <a:ext uri="{FF2B5EF4-FFF2-40B4-BE49-F238E27FC236}">
                <a16:creationId xmlns:a16="http://schemas.microsoft.com/office/drawing/2014/main" id="{4A75B454-1CCD-827C-FEC1-02E9F56A8021}"/>
              </a:ext>
            </a:extLst>
          </p:cNvPr>
          <p:cNvPicPr>
            <a:picLocks noGrp="1" noChangeAspect="1"/>
          </p:cNvPicPr>
          <p:nvPr>
            <p:ph type="pic" sz="quarter" idx="16"/>
          </p:nvPr>
        </p:nvPicPr>
        <p:blipFill rotWithShape="1">
          <a:blip r:embed="rId3" cstate="hqprint">
            <a:extLst>
              <a:ext uri="{28A0092B-C50C-407E-A947-70E740481C1C}">
                <a14:useLocalDpi xmlns:a14="http://schemas.microsoft.com/office/drawing/2010/main" val="0"/>
              </a:ext>
            </a:extLst>
          </a:blip>
          <a:srcRect r="-9"/>
          <a:stretch/>
        </p:blipFill>
        <p:spPr>
          <a:xfrm>
            <a:off x="7367833" y="3242124"/>
            <a:ext cx="4824612" cy="3036712"/>
          </a:xfrm>
        </p:spPr>
      </p:pic>
      <p:sp>
        <p:nvSpPr>
          <p:cNvPr id="5" name="Text Placeholder 4">
            <a:extLst>
              <a:ext uri="{FF2B5EF4-FFF2-40B4-BE49-F238E27FC236}">
                <a16:creationId xmlns:a16="http://schemas.microsoft.com/office/drawing/2014/main" id="{47056C5C-30D6-960B-FEDD-35AB5990BFA4}"/>
              </a:ext>
            </a:extLst>
          </p:cNvPr>
          <p:cNvSpPr>
            <a:spLocks noGrp="1"/>
          </p:cNvSpPr>
          <p:nvPr>
            <p:ph type="body" sz="quarter" idx="17"/>
          </p:nvPr>
        </p:nvSpPr>
        <p:spPr>
          <a:xfrm>
            <a:off x="248620" y="2004163"/>
            <a:ext cx="5847380" cy="3957638"/>
          </a:xfrm>
        </p:spPr>
        <p:txBody>
          <a:bodyPr>
            <a:noAutofit/>
          </a:bodyPr>
          <a:lstStyle/>
          <a:p>
            <a:pPr marL="0" indent="0">
              <a:buNone/>
            </a:pPr>
            <a:r>
              <a:rPr lang="en-US" spc="14" dirty="0">
                <a:latin typeface="Calibri" panose="020F0502020204030204" pitchFamily="34" charset="0"/>
                <a:cs typeface="Calibri" panose="020F0502020204030204" pitchFamily="34" charset="0"/>
              </a:rPr>
              <a:t>The project aims to provide the following services to</a:t>
            </a:r>
          </a:p>
          <a:p>
            <a:pPr marL="0" indent="0">
              <a:buNone/>
            </a:pPr>
            <a:r>
              <a:rPr lang="en-US" spc="14" dirty="0">
                <a:latin typeface="Calibri" panose="020F0502020204030204" pitchFamily="34" charset="0"/>
                <a:cs typeface="Calibri" panose="020F0502020204030204" pitchFamily="34" charset="0"/>
              </a:rPr>
              <a:t>Dummy Company:</a:t>
            </a:r>
          </a:p>
          <a:p>
            <a:pPr marL="342900" indent="-342900">
              <a:buFont typeface="+mj-lt"/>
              <a:buAutoNum type="arabicPeriod"/>
            </a:pPr>
            <a:r>
              <a:rPr lang="en-US" spc="14" dirty="0">
                <a:latin typeface="Calibri" panose="020F0502020204030204" pitchFamily="34" charset="0"/>
                <a:cs typeface="Calibri" panose="020F0502020204030204" pitchFamily="34" charset="0"/>
              </a:rPr>
              <a:t/>
            </a:r>
          </a:p>
          <a:p>
            <a:pPr/>
            <a:r>
              <a:t>Dummy Bullet Point 1</a:t>
            </a:r>
          </a:p>
          <a:p>
            <a:pPr/>
            <a:r>
              <a:t>Dummy Bullet Point 2</a:t>
            </a:r>
          </a:p>
          <a:p>
            <a:pPr/>
            <a:r>
              <a:t>Dummy Bullet Point 3</a:t>
            </a:r>
          </a:p>
        </p:txBody>
      </p:sp>
    </p:spTree>
    <p:extLst>
      <p:ext uri="{BB962C8B-B14F-4D97-AF65-F5344CB8AC3E}">
        <p14:creationId xmlns:p14="http://schemas.microsoft.com/office/powerpoint/2010/main" val="3097266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A69B05-0E4A-5361-44FB-D912526240FF}"/>
              </a:ext>
            </a:extLst>
          </p:cNvPr>
          <p:cNvSpPr>
            <a:spLocks noGrp="1"/>
          </p:cNvSpPr>
          <p:nvPr>
            <p:ph type="body" sz="quarter" idx="12"/>
          </p:nvPr>
        </p:nvSpPr>
        <p:spPr>
          <a:xfrm>
            <a:off x="344632" y="4752976"/>
            <a:ext cx="6103937" cy="1290638"/>
          </a:xfrm>
        </p:spPr>
        <p:txBody>
          <a:bodyPr>
            <a:normAutofit/>
          </a:bodyPr>
          <a:lstStyle/>
          <a:p>
            <a:r>
              <a:rPr lang="en-US" cap="all" dirty="0">
                <a:ea typeface="Calibri"/>
                <a:cs typeface="Calibri"/>
              </a:rPr>
              <a:t>Introduction to </a:t>
            </a:r>
            <a:r>
              <a:rPr lang="en-US" cap="all" dirty="0" err="1">
                <a:ea typeface="Calibri"/>
                <a:cs typeface="Calibri"/>
              </a:rPr>
              <a:t>Vapt</a:t>
            </a:r>
            <a:endParaRPr lang="en-US" cap="all" dirty="0">
              <a:ea typeface="Calibri"/>
              <a:cs typeface="Calibri"/>
            </a:endParaRPr>
          </a:p>
        </p:txBody>
      </p:sp>
      <p:pic>
        <p:nvPicPr>
          <p:cNvPr id="11" name="Picture Placeholder 10" descr="A picture containing electronics, circuit&#10;&#10;Description automatically generated">
            <a:extLst>
              <a:ext uri="{FF2B5EF4-FFF2-40B4-BE49-F238E27FC236}">
                <a16:creationId xmlns:a16="http://schemas.microsoft.com/office/drawing/2014/main" id="{D77B4251-DD1E-B1AC-B12D-D4394D47C636}"/>
              </a:ext>
            </a:extLst>
          </p:cNvPr>
          <p:cNvPicPr>
            <a:picLocks noGrp="1" noChangeAspect="1"/>
          </p:cNvPicPr>
          <p:nvPr>
            <p:ph type="pic" sz="quarter" idx="10"/>
          </p:nvPr>
        </p:nvPicPr>
        <p:blipFill>
          <a:blip r:embed="rId2">
            <a:duotone>
              <a:prstClr val="black"/>
              <a:schemeClr val="accent4">
                <a:tint val="45000"/>
                <a:satMod val="400000"/>
              </a:schemeClr>
            </a:duotone>
            <a:extLst>
              <a:ext uri="{28A0092B-C50C-407E-A947-70E740481C1C}">
                <a14:useLocalDpi xmlns:a14="http://schemas.microsoft.com/office/drawing/2010/main" val="0"/>
              </a:ext>
            </a:extLst>
          </a:blip>
          <a:srcRect l="34102" r="34102"/>
          <a:stretch>
            <a:fillRect/>
          </a:stretch>
        </p:blipFill>
        <p:spPr/>
      </p:pic>
      <p:pic>
        <p:nvPicPr>
          <p:cNvPr id="7" name="Picture Placeholder 6" descr="A picture containing electronics, circuit&#10;&#10;Description automatically generated">
            <a:extLst>
              <a:ext uri="{FF2B5EF4-FFF2-40B4-BE49-F238E27FC236}">
                <a16:creationId xmlns:a16="http://schemas.microsoft.com/office/drawing/2014/main" id="{B3160FFA-AE05-13BD-DA32-9755AA47B536}"/>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21014" r="21014"/>
          <a:stretch>
            <a:fillRect/>
          </a:stretch>
        </p:blipFill>
        <p:spPr/>
      </p:pic>
    </p:spTree>
    <p:extLst>
      <p:ext uri="{BB962C8B-B14F-4D97-AF65-F5344CB8AC3E}">
        <p14:creationId xmlns:p14="http://schemas.microsoft.com/office/powerpoint/2010/main" val="36784304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VAPT SERVICES</a:t>
            </a:r>
            <a:endParaRPr lang="en-US">
              <a:ea typeface="Calibri"/>
              <a:cs typeface="Calibri"/>
            </a:endParaRPr>
          </a:p>
        </p:txBody>
      </p:sp>
      <p:sp>
        <p:nvSpPr>
          <p:cNvPr id="6" name="TextBox 6">
            <a:extLst>
              <a:ext uri="{FF2B5EF4-FFF2-40B4-BE49-F238E27FC236}">
                <a16:creationId xmlns:a16="http://schemas.microsoft.com/office/drawing/2014/main" id="{3FCB0E50-2B9C-41C0-8473-CADCD7335AAF}"/>
              </a:ext>
            </a:extLst>
          </p:cNvPr>
          <p:cNvSpPr txBox="1"/>
          <p:nvPr/>
        </p:nvSpPr>
        <p:spPr>
          <a:xfrm>
            <a:off x="912254" y="2183019"/>
            <a:ext cx="10367655" cy="166199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 has delivered multiple Vulnerability Assessment and Penetration Testing services to Clients in UAE, Saudi Arabia, Australia and Pakistan. Our team comprises of certified hackers and vulnerability researchers with years of experience as bug bounty hunters and holding CEH, OSCP certifications. We also deliver red teaming and blue teaming services to ensure comprehensive cyber security prote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We are delivering vulnerability assessment and penetration testing services in following domains:</a:t>
            </a:r>
          </a:p>
        </p:txBody>
      </p:sp>
      <p:sp>
        <p:nvSpPr>
          <p:cNvPr id="9" name="TextBox 8">
            <a:extLst>
              <a:ext uri="{FF2B5EF4-FFF2-40B4-BE49-F238E27FC236}">
                <a16:creationId xmlns:a16="http://schemas.microsoft.com/office/drawing/2014/main" id="{95B0048E-55CA-B710-56C3-B51F7BB7CA90}"/>
              </a:ext>
            </a:extLst>
          </p:cNvPr>
          <p:cNvSpPr txBox="1"/>
          <p:nvPr/>
        </p:nvSpPr>
        <p:spPr>
          <a:xfrm>
            <a:off x="912253" y="4205145"/>
            <a:ext cx="10367655" cy="923330"/>
          </a:xfrm>
          <a:prstGeom prst="rect">
            <a:avLst/>
          </a:prstGeom>
          <a:noFill/>
        </p:spPr>
        <p:txBody>
          <a:bodyPr wrap="square" numCol="2">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Web/ Mobile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Networ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ervers &amp; End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Databa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oT devices</a:t>
            </a:r>
          </a:p>
        </p:txBody>
      </p:sp>
    </p:spTree>
    <p:extLst>
      <p:ext uri="{BB962C8B-B14F-4D97-AF65-F5344CB8AC3E}">
        <p14:creationId xmlns:p14="http://schemas.microsoft.com/office/powerpoint/2010/main" val="40412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a:t>OUR PT SERVICES</a:t>
            </a:r>
            <a:endParaRPr lang="en-US">
              <a:ea typeface="Calibri"/>
              <a:cs typeface="Calibri"/>
            </a:endParaRPr>
          </a:p>
        </p:txBody>
      </p:sp>
      <p:sp>
        <p:nvSpPr>
          <p:cNvPr id="5" name="TextBox 4">
            <a:extLst>
              <a:ext uri="{FF2B5EF4-FFF2-40B4-BE49-F238E27FC236}">
                <a16:creationId xmlns:a16="http://schemas.microsoft.com/office/drawing/2014/main" id="{507ADE3C-D594-1E76-5B8F-A5DD8E086330}"/>
              </a:ext>
            </a:extLst>
          </p:cNvPr>
          <p:cNvSpPr txBox="1"/>
          <p:nvPr/>
        </p:nvSpPr>
        <p:spPr>
          <a:xfrm>
            <a:off x="599425" y="1983465"/>
            <a:ext cx="10830575" cy="369331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 Penetration Test is an attempt to find the security weaknesses of a system and intentionally attack the system with legal approval, in order to identify loopholes that an attacker could exploit to compromise organizational asse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Grey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Grey box testing is when the tester has a partial understanding of the internal structure in the system. Grey Box testers have access to the detailed design documents along with information about require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White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It is the testing strategy where the tester deeply understands the inner workings of the system or system component being test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14" normalizeH="0" baseline="0" noProof="0">
              <a:ln>
                <a:noFill/>
              </a:ln>
              <a:solidFill>
                <a:srgbClr val="000000"/>
              </a:solidFill>
              <a:effectLst/>
              <a:uLnTx/>
              <a:uFillTx/>
              <a:latin typeface="Calibri"/>
              <a:ea typeface="+mn-ea"/>
              <a:cs typeface="Calibri"/>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14" normalizeH="0" baseline="0" noProof="0">
                <a:ln>
                  <a:noFill/>
                </a:ln>
                <a:solidFill>
                  <a:srgbClr val="000000"/>
                </a:solidFill>
                <a:effectLst/>
                <a:uLnTx/>
                <a:uFillTx/>
                <a:latin typeface="Calibri"/>
                <a:ea typeface="+mn-ea"/>
                <a:cs typeface="Calibri"/>
              </a:rPr>
              <a:t>Black Box Testing: </a:t>
            </a:r>
            <a:r>
              <a:rPr kumimoji="0" lang="en-US" sz="1800" b="0" i="0" u="none" strike="noStrike" kern="1200" cap="none" spc="14" normalizeH="0" baseline="0" noProof="0">
                <a:ln>
                  <a:noFill/>
                </a:ln>
                <a:solidFill>
                  <a:srgbClr val="000000"/>
                </a:solidFill>
                <a:effectLst/>
                <a:uLnTx/>
                <a:uFillTx/>
                <a:latin typeface="Calibri"/>
                <a:ea typeface="+mn-ea"/>
                <a:cs typeface="Calibri"/>
              </a:rPr>
              <a:t>Black-box testing ignores the internal mechanism of a system or component and focuses solely on outputs generated in response to selected inputs and execution conditions</a:t>
            </a:r>
            <a:r>
              <a:rPr kumimoji="0" lang="en-US" sz="1600" b="0" i="0" u="none" strike="noStrike" kern="1200" cap="none" spc="0" normalizeH="0" baseline="0" noProof="0">
                <a:ln>
                  <a:noFill/>
                </a:ln>
                <a:solidFill>
                  <a:srgbClr val="000000"/>
                </a:solidFill>
                <a:effectLst/>
                <a:uLnTx/>
                <a:uFillTx/>
                <a:latin typeface="Calibri"/>
                <a:ea typeface="+mn-ea"/>
                <a:cs typeface="+mn-cs"/>
              </a:rPr>
              <a:t>.</a:t>
            </a:r>
            <a:endParaRPr kumimoji="0" lang="en-GB" sz="16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76041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alendar&#10;&#10;Description automatically generated">
            <a:extLst>
              <a:ext uri="{FF2B5EF4-FFF2-40B4-BE49-F238E27FC236}">
                <a16:creationId xmlns:a16="http://schemas.microsoft.com/office/drawing/2014/main" id="{FC75D59A-E19A-2DE0-B128-C7C4A0220E54}"/>
              </a:ext>
            </a:extLst>
          </p:cNvPr>
          <p:cNvPicPr>
            <a:picLocks noGrp="1" noChangeAspect="1"/>
          </p:cNvPicPr>
          <p:nvPr>
            <p:ph type="pic" sz="quarter" idx="10"/>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B9765936-9A1F-F24F-6CCD-35403297DBD0}"/>
              </a:ext>
            </a:extLst>
          </p:cNvPr>
          <p:cNvSpPr>
            <a:spLocks noGrp="1"/>
          </p:cNvSpPr>
          <p:nvPr>
            <p:ph type="body" sz="quarter" idx="12"/>
          </p:nvPr>
        </p:nvSpPr>
        <p:spPr>
          <a:xfrm>
            <a:off x="344631" y="4474029"/>
            <a:ext cx="5544539" cy="1569585"/>
          </a:xfrm>
        </p:spPr>
        <p:txBody>
          <a:bodyPr anchor="b">
            <a:normAutofit/>
          </a:bodyPr>
          <a:lstStyle/>
          <a:p>
            <a:r>
              <a:rPr lang="en-GB" sz="3600">
                <a:ea typeface="Calibri"/>
                <a:cs typeface="Calibri"/>
              </a:rPr>
              <a:t>DELIVERY METHODOLOGY</a:t>
            </a:r>
          </a:p>
        </p:txBody>
      </p:sp>
    </p:spTree>
    <p:extLst>
      <p:ext uri="{BB962C8B-B14F-4D97-AF65-F5344CB8AC3E}">
        <p14:creationId xmlns:p14="http://schemas.microsoft.com/office/powerpoint/2010/main" val="3740266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10885" y="15470"/>
            <a:ext cx="9644742" cy="1441499"/>
          </a:xfrm>
        </p:spPr>
        <p:txBody>
          <a:bodyPr/>
          <a:lstStyle/>
          <a:p>
            <a:r>
              <a:rPr lang="en-US" dirty="0"/>
              <a:t>VAPT  -DELIVERY METHODOLOGY</a:t>
            </a:r>
          </a:p>
        </p:txBody>
      </p:sp>
      <p:pic>
        <p:nvPicPr>
          <p:cNvPr id="3" name="Picture 2" descr="Logo&#10;&#10;Description automatically generated">
            <a:extLst>
              <a:ext uri="{FF2B5EF4-FFF2-40B4-BE49-F238E27FC236}">
                <a16:creationId xmlns:a16="http://schemas.microsoft.com/office/drawing/2014/main" id="{714F4B02-8293-79CD-D79E-E6B8C676138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pic>
        <p:nvPicPr>
          <p:cNvPr id="6" name="Picture 5">
            <a:extLst>
              <a:ext uri="{FF2B5EF4-FFF2-40B4-BE49-F238E27FC236}">
                <a16:creationId xmlns:a16="http://schemas.microsoft.com/office/drawing/2014/main" id="{A3D38307-BDE7-A96E-62EC-CEA1228BB49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92323" y="4439927"/>
            <a:ext cx="5200252" cy="898953"/>
          </a:xfrm>
          <a:prstGeom prst="rect">
            <a:avLst/>
          </a:prstGeom>
        </p:spPr>
      </p:pic>
      <p:pic>
        <p:nvPicPr>
          <p:cNvPr id="7" name="Picture 6">
            <a:extLst>
              <a:ext uri="{FF2B5EF4-FFF2-40B4-BE49-F238E27FC236}">
                <a16:creationId xmlns:a16="http://schemas.microsoft.com/office/drawing/2014/main" id="{6F9DF66F-C572-3069-BD73-0CC0D8BC862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883778" y="5331194"/>
            <a:ext cx="5063317" cy="877807"/>
          </a:xfrm>
          <a:prstGeom prst="rect">
            <a:avLst/>
          </a:prstGeom>
        </p:spPr>
      </p:pic>
      <p:pic>
        <p:nvPicPr>
          <p:cNvPr id="8" name="Picture 7">
            <a:extLst>
              <a:ext uri="{FF2B5EF4-FFF2-40B4-BE49-F238E27FC236}">
                <a16:creationId xmlns:a16="http://schemas.microsoft.com/office/drawing/2014/main" id="{55D0DCC7-7B78-6F78-C66D-01CFC4E3D776}"/>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327489" y="2538988"/>
            <a:ext cx="4997614" cy="1030818"/>
          </a:xfrm>
          <a:prstGeom prst="rect">
            <a:avLst/>
          </a:prstGeom>
        </p:spPr>
      </p:pic>
      <p:pic>
        <p:nvPicPr>
          <p:cNvPr id="9" name="Picture 8">
            <a:extLst>
              <a:ext uri="{FF2B5EF4-FFF2-40B4-BE49-F238E27FC236}">
                <a16:creationId xmlns:a16="http://schemas.microsoft.com/office/drawing/2014/main" id="{E4F39C8A-BF98-6E2F-8EE9-1CD2721B86F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651762" y="1700617"/>
            <a:ext cx="5200252" cy="898953"/>
          </a:xfrm>
          <a:prstGeom prst="rect">
            <a:avLst/>
          </a:prstGeom>
        </p:spPr>
      </p:pic>
      <p:pic>
        <p:nvPicPr>
          <p:cNvPr id="10" name="Picture 9">
            <a:extLst>
              <a:ext uri="{FF2B5EF4-FFF2-40B4-BE49-F238E27FC236}">
                <a16:creationId xmlns:a16="http://schemas.microsoft.com/office/drawing/2014/main" id="{E42F80AB-9A17-1014-885F-455CD4A13804}"/>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831512" y="3474737"/>
            <a:ext cx="4997618" cy="967200"/>
          </a:xfrm>
          <a:prstGeom prst="rect">
            <a:avLst/>
          </a:prstGeom>
        </p:spPr>
      </p:pic>
      <p:sp>
        <p:nvSpPr>
          <p:cNvPr id="12" name="Text Placeholder 17">
            <a:extLst>
              <a:ext uri="{FF2B5EF4-FFF2-40B4-BE49-F238E27FC236}">
                <a16:creationId xmlns:a16="http://schemas.microsoft.com/office/drawing/2014/main" id="{6C06D145-0144-695E-EAB6-5C796BAEFC28}"/>
              </a:ext>
            </a:extLst>
          </p:cNvPr>
          <p:cNvSpPr txBox="1">
            <a:spLocks/>
          </p:cNvSpPr>
          <p:nvPr/>
        </p:nvSpPr>
        <p:spPr>
          <a:xfrm>
            <a:off x="599425" y="1853778"/>
            <a:ext cx="4709554" cy="4629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GRC360’s methodology is intended to serve as high level directional guide for the development of secure and effective penetration testing. The five-phased methodology is based upon </a:t>
            </a:r>
            <a:r>
              <a:rPr kumimoji="0" lang="en-US" sz="1800" b="1" i="0" u="none" strike="noStrike" kern="1200" cap="none" spc="14" normalizeH="0" baseline="0" noProof="0" dirty="0">
                <a:ln>
                  <a:noFill/>
                </a:ln>
                <a:solidFill>
                  <a:srgbClr val="000000"/>
                </a:solidFill>
                <a:effectLst/>
                <a:uLnTx/>
                <a:uFillTx/>
                <a:latin typeface="Calibri"/>
                <a:ea typeface="+mn-ea"/>
                <a:cs typeface="Calibri"/>
              </a:rPr>
              <a:t>ISSAF, PTES, OWASP &amp; PCI DS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standards.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methodology offers best practices on conducting penetration testing aligned with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needs &amp; expectations. Each phase reflects a portion of the mentioned standards. GRC360’s main objective is to revolve the methodology around the industry best practices, and to update and roll down as per the </a:t>
            </a:r>
            <a:r>
              <a:rPr kumimoji="0" lang="en-US" sz="1800" b="0" i="0" u="none" strike="noStrike" kern="1200" cap="none" spc="14" normalizeH="0" baseline="0" noProof="0" dirty="0" err="1">
                <a:ln>
                  <a:noFill/>
                </a:ln>
                <a:solidFill>
                  <a:srgbClr val="000000"/>
                </a:solidFill>
                <a:effectLst/>
                <a:uLnTx/>
                <a:uFillTx/>
                <a:latin typeface="Calibri"/>
                <a:ea typeface="+mn-ea"/>
                <a:cs typeface="Calibri"/>
              </a:rPr>
              <a:t>AlSagr’s</a:t>
            </a:r>
            <a:r>
              <a:rPr kumimoji="0" lang="en-US" sz="1800" b="0" i="0" u="none" strike="noStrike" kern="1200" cap="none" spc="14" normalizeH="0" baseline="0" noProof="0" dirty="0">
                <a:ln>
                  <a:noFill/>
                </a:ln>
                <a:solidFill>
                  <a:srgbClr val="000000"/>
                </a:solidFill>
                <a:effectLst/>
                <a:uLnTx/>
                <a:uFillTx/>
                <a:latin typeface="Calibri"/>
                <a:ea typeface="+mn-ea"/>
                <a:cs typeface="Calibri"/>
              </a:rPr>
              <a:t> requirements.</a:t>
            </a:r>
          </a:p>
        </p:txBody>
      </p:sp>
    </p:spTree>
    <p:extLst>
      <p:ext uri="{BB962C8B-B14F-4D97-AF65-F5344CB8AC3E}">
        <p14:creationId xmlns:p14="http://schemas.microsoft.com/office/powerpoint/2010/main" val="25950809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0830575" cy="150810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Information Systems Security Assessment Framework (ISSAF)</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Information Systems Security Assessment Framework (ISSAF) is an open source, peer-reviewed penetration testing framework created by OSISSG. The framework encapsulates various methodologies &amp; covers all possible domains of penetration testing. It links each pen-test steps with pen-testing tools.</a:t>
            </a:r>
          </a:p>
        </p:txBody>
      </p:sp>
      <p:graphicFrame>
        <p:nvGraphicFramePr>
          <p:cNvPr id="5" name="Diagram 4">
            <a:extLst>
              <a:ext uri="{FF2B5EF4-FFF2-40B4-BE49-F238E27FC236}">
                <a16:creationId xmlns:a16="http://schemas.microsoft.com/office/drawing/2014/main" id="{C279BF9D-2A50-D5F7-DEE5-F68E5C6A8423}"/>
              </a:ext>
            </a:extLst>
          </p:cNvPr>
          <p:cNvGraphicFramePr/>
          <p:nvPr/>
        </p:nvGraphicFramePr>
        <p:xfrm>
          <a:off x="675195" y="2823686"/>
          <a:ext cx="10830575" cy="37657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48859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6" y="2064283"/>
            <a:ext cx="5496574" cy="289310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Penetration Testing Execution Standard (PT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The Penetration Testing Execution Standard (PTES) aims to address the need for a complete and up to date standard in penetration testing. It incorporates OWASP Top Ten Framework.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Further, it provides guidance to security professionals &amp; serves as a source of reference for businesses with respect to penetration testing requirements.</a:t>
            </a:r>
          </a:p>
        </p:txBody>
      </p:sp>
      <p:graphicFrame>
        <p:nvGraphicFramePr>
          <p:cNvPr id="9" name="Diagram 8">
            <a:extLst>
              <a:ext uri="{FF2B5EF4-FFF2-40B4-BE49-F238E27FC236}">
                <a16:creationId xmlns:a16="http://schemas.microsoft.com/office/drawing/2014/main" id="{E5E689FF-875F-6C0E-1996-6E1EF6E2D2DC}"/>
              </a:ext>
            </a:extLst>
          </p:cNvPr>
          <p:cNvGraphicFramePr/>
          <p:nvPr/>
        </p:nvGraphicFramePr>
        <p:xfrm>
          <a:off x="6410973" y="1904064"/>
          <a:ext cx="5181601" cy="409495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54738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indoor&#10;&#10;Description automatically generated">
            <a:extLst>
              <a:ext uri="{FF2B5EF4-FFF2-40B4-BE49-F238E27FC236}">
                <a16:creationId xmlns:a16="http://schemas.microsoft.com/office/drawing/2014/main" id="{25543018-177A-7A55-22A3-61910D699175}"/>
              </a:ext>
            </a:extLst>
          </p:cNvPr>
          <p:cNvPicPr>
            <a:picLocks noGrp="1" noChangeAspect="1"/>
          </p:cNvPicPr>
          <p:nvPr>
            <p:ph type="pic" sz="quarter" idx="10"/>
          </p:nvPr>
        </p:nvPicPr>
        <p:blipFill>
          <a:blip r:embed="rId2" cstate="print">
            <a:alphaModFix/>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7991339" y="-112296"/>
            <a:ext cx="3332162" cy="6187993"/>
          </a:xfrm>
        </p:spPr>
      </p:pic>
      <p:pic>
        <p:nvPicPr>
          <p:cNvPr id="8" name="Picture Placeholder 7" descr="A picture containing indoor&#10;&#10;Description automatically generated">
            <a:extLst>
              <a:ext uri="{FF2B5EF4-FFF2-40B4-BE49-F238E27FC236}">
                <a16:creationId xmlns:a16="http://schemas.microsoft.com/office/drawing/2014/main" id="{4B36E436-955A-2CB5-025A-43F6B27660D8}"/>
              </a:ext>
            </a:extLst>
          </p:cNvPr>
          <p:cNvPicPr>
            <a:picLocks noGrp="1" noChangeAspect="1"/>
          </p:cNvPicPr>
          <p:nvPr>
            <p:ph type="pic" sz="quarter" idx="11"/>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t="22597" b="22597"/>
          <a:stretch>
            <a:fillRect/>
          </a:stretch>
        </p:blipFill>
        <p:spPr>
          <a:xfrm>
            <a:off x="7716766" y="923635"/>
            <a:ext cx="3881308" cy="3881308"/>
          </a:xfrm>
        </p:spPr>
      </p:pic>
      <p:sp>
        <p:nvSpPr>
          <p:cNvPr id="4" name="Text Placeholder 3">
            <a:extLst>
              <a:ext uri="{FF2B5EF4-FFF2-40B4-BE49-F238E27FC236}">
                <a16:creationId xmlns:a16="http://schemas.microsoft.com/office/drawing/2014/main" id="{6C70F218-464E-A335-9607-BCF03C503308}"/>
              </a:ext>
            </a:extLst>
          </p:cNvPr>
          <p:cNvSpPr>
            <a:spLocks noGrp="1"/>
          </p:cNvSpPr>
          <p:nvPr>
            <p:ph type="body" sz="quarter" idx="12"/>
          </p:nvPr>
        </p:nvSpPr>
        <p:spPr/>
        <p:txBody>
          <a:bodyPr/>
          <a:lstStyle/>
          <a:p>
            <a:r>
              <a:rPr lang="en-US"/>
              <a:t>COMPANY PROFILE</a:t>
            </a:r>
            <a:endParaRPr lang="en-GB"/>
          </a:p>
        </p:txBody>
      </p:sp>
    </p:spTree>
    <p:extLst>
      <p:ext uri="{BB962C8B-B14F-4D97-AF65-F5344CB8AC3E}">
        <p14:creationId xmlns:p14="http://schemas.microsoft.com/office/powerpoint/2010/main" val="2898957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57F2839E-C8B1-38AF-6AA3-0F398F6F4621}"/>
              </a:ext>
            </a:extLst>
          </p:cNvPr>
          <p:cNvSpPr txBox="1"/>
          <p:nvPr/>
        </p:nvSpPr>
        <p:spPr>
          <a:xfrm>
            <a:off x="599425" y="2064283"/>
            <a:ext cx="11121519"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OWASP provides numerous tools, guidelines and testing methodologies for cyber security under opensource license. The framework is further categorized into web applications development, web application testing methodology and reporting. The main focus is upon web application security through out the entire software development life cycle. </a:t>
            </a:r>
          </a:p>
        </p:txBody>
      </p:sp>
      <p:pic>
        <p:nvPicPr>
          <p:cNvPr id="3" name="Picture 2" descr="owasp web application penetration testing methodology الصور ...">
            <a:extLst>
              <a:ext uri="{FF2B5EF4-FFF2-40B4-BE49-F238E27FC236}">
                <a16:creationId xmlns:a16="http://schemas.microsoft.com/office/drawing/2014/main" id="{FF9E969F-E618-1074-DA37-169BB95BB8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1867051" y="3865420"/>
            <a:ext cx="8586266" cy="2147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7440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89809"/>
          </a:xfrm>
          <a:prstGeom prst="rect">
            <a:avLst/>
          </a:prstGeom>
        </p:spPr>
      </p:pic>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13" name="Text Placeholder 12">
            <a:extLst>
              <a:ext uri="{FF2B5EF4-FFF2-40B4-BE49-F238E27FC236}">
                <a16:creationId xmlns:a16="http://schemas.microsoft.com/office/drawing/2014/main" id="{4E5ABB65-C53E-AF09-E5AC-F01540B7744B}"/>
              </a:ext>
            </a:extLst>
          </p:cNvPr>
          <p:cNvSpPr>
            <a:spLocks noGrp="1"/>
          </p:cNvSpPr>
          <p:nvPr>
            <p:ph type="body" sz="quarter" idx="14"/>
          </p:nvPr>
        </p:nvSpPr>
        <p:spPr>
          <a:xfrm>
            <a:off x="0" y="-21955"/>
            <a:ext cx="12192000" cy="1489809"/>
          </a:xfrm>
          <a:solidFill>
            <a:schemeClr val="tx1">
              <a:alpha val="75000"/>
            </a:schemeClr>
          </a:solidFill>
        </p:spPr>
        <p:txBody>
          <a:bodyPr>
            <a:normAutofit/>
          </a:bodyPr>
          <a:lstStyle/>
          <a:p>
            <a:r>
              <a:rPr lang="en-US" dirty="0"/>
              <a:t>VAPT - DELIVERY METHODOLOGY</a:t>
            </a: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5" name="Diagram 4">
            <a:extLst>
              <a:ext uri="{FF2B5EF4-FFF2-40B4-BE49-F238E27FC236}">
                <a16:creationId xmlns:a16="http://schemas.microsoft.com/office/drawing/2014/main" id="{16E6516D-4F94-AD3E-893F-50BDC875B3A7}"/>
              </a:ext>
            </a:extLst>
          </p:cNvPr>
          <p:cNvGraphicFramePr/>
          <p:nvPr/>
        </p:nvGraphicFramePr>
        <p:xfrm>
          <a:off x="1920264" y="1572127"/>
          <a:ext cx="9814535" cy="470592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0120E946-031F-6304-2D74-65844A778F76}"/>
              </a:ext>
            </a:extLst>
          </p:cNvPr>
          <p:cNvSpPr txBox="1"/>
          <p:nvPr/>
        </p:nvSpPr>
        <p:spPr>
          <a:xfrm>
            <a:off x="207005" y="3417259"/>
            <a:ext cx="202276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T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Web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Vulnerabilities</a:t>
            </a:r>
          </a:p>
        </p:txBody>
      </p:sp>
    </p:spTree>
    <p:extLst>
      <p:ext uri="{BB962C8B-B14F-4D97-AF65-F5344CB8AC3E}">
        <p14:creationId xmlns:p14="http://schemas.microsoft.com/office/powerpoint/2010/main" val="3959933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pic>
        <p:nvPicPr>
          <p:cNvPr id="24" name="Picture 23" descr="Logo&#10;&#10;Description automatically generated">
            <a:extLst>
              <a:ext uri="{FF2B5EF4-FFF2-40B4-BE49-F238E27FC236}">
                <a16:creationId xmlns:a16="http://schemas.microsoft.com/office/drawing/2014/main" id="{669D84EB-900C-0D89-5915-B50AD5090B61}"/>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387142" y="6382328"/>
            <a:ext cx="831245" cy="414260"/>
          </a:xfrm>
          <a:prstGeom prst="rect">
            <a:avLst/>
          </a:prstGeom>
        </p:spPr>
      </p:pic>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Callout: Line 39">
            <a:extLst>
              <a:ext uri="{FF2B5EF4-FFF2-40B4-BE49-F238E27FC236}">
                <a16:creationId xmlns:a16="http://schemas.microsoft.com/office/drawing/2014/main" id="{98972652-E39D-DBA9-769C-31EF13B300DC}"/>
              </a:ext>
            </a:extLst>
          </p:cNvPr>
          <p:cNvSpPr/>
          <p:nvPr/>
        </p:nvSpPr>
        <p:spPr>
          <a:xfrm>
            <a:off x="8708956" y="1788189"/>
            <a:ext cx="3118716" cy="914400"/>
          </a:xfrm>
          <a:prstGeom prst="borderCallout1">
            <a:avLst>
              <a:gd name="adj1" fmla="val 49804"/>
              <a:gd name="adj2" fmla="val -622"/>
              <a:gd name="adj3" fmla="val 48430"/>
              <a:gd name="adj4" fmla="val -76572"/>
            </a:avLst>
          </a:prstGeom>
          <a:noFill/>
          <a:ln>
            <a:solidFill>
              <a:srgbClr val="2F5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1. Pre-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cope of penetration testing is finalized and documented. Rules of engagement and success criteria is determined to ensure pen tester have clear set of expectation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1" name="Callout: Line 40">
            <a:extLst>
              <a:ext uri="{FF2B5EF4-FFF2-40B4-BE49-F238E27FC236}">
                <a16:creationId xmlns:a16="http://schemas.microsoft.com/office/drawing/2014/main" id="{F1F1E747-D7B0-1B38-FDBE-F6BD38269278}"/>
              </a:ext>
            </a:extLst>
          </p:cNvPr>
          <p:cNvSpPr/>
          <p:nvPr/>
        </p:nvSpPr>
        <p:spPr>
          <a:xfrm>
            <a:off x="8708956" y="2809304"/>
            <a:ext cx="3118716" cy="914400"/>
          </a:xfrm>
          <a:prstGeom prst="borderCallout1">
            <a:avLst>
              <a:gd name="adj1" fmla="val 47736"/>
              <a:gd name="adj2" fmla="val -46"/>
              <a:gd name="adj3" fmla="val 49209"/>
              <a:gd name="adj4" fmla="val -18809"/>
            </a:avLst>
          </a:prstGeom>
          <a:noFill/>
          <a:ln>
            <a:solidFill>
              <a:srgbClr val="C55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2.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ctual penetration testing activity is performed using appropriate approach, tools, or  techniques according to organizational needs. Applications, networks and segmentation is tested for loophole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56D02EFD-F6F7-859D-850B-F6334EA7CC47}"/>
              </a:ext>
            </a:extLst>
          </p:cNvPr>
          <p:cNvSpPr txBox="1"/>
          <p:nvPr/>
        </p:nvSpPr>
        <p:spPr>
          <a:xfrm>
            <a:off x="635070" y="1819841"/>
            <a:ext cx="3629525"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mn-cs"/>
              </a:rPr>
              <a:t>PCI DSS Penetration Tes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CI DSS Pen-Testing is designed to include the assessment of network infrastructure and applications from both outside and inside CIRCLYS's network environ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T exercise shall be performed on CIRCLYS’s complete Cardholder Data Environment (CDE) and includes any systems which may impact the security of the CDE. </a:t>
            </a:r>
          </a:p>
        </p:txBody>
      </p:sp>
      <p:sp>
        <p:nvSpPr>
          <p:cNvPr id="47" name="Callout: Bent Line 46">
            <a:extLst>
              <a:ext uri="{FF2B5EF4-FFF2-40B4-BE49-F238E27FC236}">
                <a16:creationId xmlns:a16="http://schemas.microsoft.com/office/drawing/2014/main" id="{959E1499-CA05-33E3-A200-2E13B63FDC7B}"/>
              </a:ext>
            </a:extLst>
          </p:cNvPr>
          <p:cNvSpPr/>
          <p:nvPr/>
        </p:nvSpPr>
        <p:spPr>
          <a:xfrm>
            <a:off x="8702401" y="5216410"/>
            <a:ext cx="3118715" cy="822960"/>
          </a:xfrm>
          <a:prstGeom prst="borderCallout2">
            <a:avLst>
              <a:gd name="adj1" fmla="val 59155"/>
              <a:gd name="adj2" fmla="val -754"/>
              <a:gd name="adj3" fmla="val 59459"/>
              <a:gd name="adj4" fmla="val -115047"/>
              <a:gd name="adj5" fmla="val -32740"/>
              <a:gd name="adj6" fmla="val -115025"/>
            </a:avLst>
          </a:prstGeom>
          <a:noFill/>
          <a:ln>
            <a:solidFill>
              <a:srgbClr val="BF9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4. Reporting &amp; Docum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This phase includes reporting vulnerability based on industry best scoring systems like CVSS,NVD,VCE, CWE, BID,OSVDB etc.</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E65CCBAF-598D-7AEA-3630-DF733A087583}"/>
              </a:ext>
            </a:extLst>
          </p:cNvPr>
          <p:cNvGrpSpPr/>
          <p:nvPr/>
        </p:nvGrpSpPr>
        <p:grpSpPr>
          <a:xfrm>
            <a:off x="4602963" y="1907374"/>
            <a:ext cx="3678810" cy="3688080"/>
            <a:chOff x="4185947" y="1514486"/>
            <a:chExt cx="3823321" cy="3832957"/>
          </a:xfrm>
        </p:grpSpPr>
        <p:sp>
          <p:nvSpPr>
            <p:cNvPr id="22" name="Freeform: Shape 21">
              <a:extLst>
                <a:ext uri="{FF2B5EF4-FFF2-40B4-BE49-F238E27FC236}">
                  <a16:creationId xmlns:a16="http://schemas.microsoft.com/office/drawing/2014/main" id="{526421A7-B78A-1E0E-F02C-2038FFDE14CF}"/>
                </a:ext>
              </a:extLst>
            </p:cNvPr>
            <p:cNvSpPr/>
            <p:nvPr/>
          </p:nvSpPr>
          <p:spPr>
            <a:xfrm>
              <a:off x="4817514" y="1791172"/>
              <a:ext cx="1137999" cy="601794"/>
            </a:xfrm>
            <a:custGeom>
              <a:avLst/>
              <a:gdLst>
                <a:gd name="connsiteX0" fmla="*/ 1137999 w 1137998"/>
                <a:gd name="connsiteY0" fmla="*/ 205092 h 601793"/>
                <a:gd name="connsiteX1" fmla="*/ 620046 w 1137998"/>
                <a:gd name="connsiteY1" fmla="*/ 3105 h 601793"/>
                <a:gd name="connsiteX2" fmla="*/ 64337 w 1137998"/>
                <a:gd name="connsiteY2" fmla="*/ 496067 h 601793"/>
                <a:gd name="connsiteX3" fmla="*/ 494016 w 1137998"/>
                <a:gd name="connsiteY3" fmla="*/ 524271 h 601793"/>
                <a:gd name="connsiteX4" fmla="*/ 1137999 w 1137998"/>
                <a:gd name="connsiteY4" fmla="*/ 205092 h 601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793">
                  <a:moveTo>
                    <a:pt x="1137999" y="205092"/>
                  </a:moveTo>
                  <a:cubicBezTo>
                    <a:pt x="1137999" y="205092"/>
                    <a:pt x="915572" y="24527"/>
                    <a:pt x="620046" y="3105"/>
                  </a:cubicBezTo>
                  <a:cubicBezTo>
                    <a:pt x="131101" y="-32240"/>
                    <a:pt x="-129348" y="240526"/>
                    <a:pt x="64337" y="496067"/>
                  </a:cubicBezTo>
                  <a:cubicBezTo>
                    <a:pt x="194830" y="668241"/>
                    <a:pt x="412704" y="594337"/>
                    <a:pt x="494016" y="524271"/>
                  </a:cubicBezTo>
                  <a:cubicBezTo>
                    <a:pt x="665655" y="376642"/>
                    <a:pt x="810607" y="113604"/>
                    <a:pt x="1137999" y="205092"/>
                  </a:cubicBezTo>
                  <a:close/>
                </a:path>
              </a:pathLst>
            </a:custGeom>
            <a:solidFill>
              <a:srgbClr val="4472C4">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F8D4A42D-383D-5644-C164-075E870A4175}"/>
                </a:ext>
              </a:extLst>
            </p:cNvPr>
            <p:cNvSpPr/>
            <p:nvPr/>
          </p:nvSpPr>
          <p:spPr>
            <a:xfrm>
              <a:off x="4914965" y="1514486"/>
              <a:ext cx="2252713" cy="1188548"/>
            </a:xfrm>
            <a:custGeom>
              <a:avLst/>
              <a:gdLst>
                <a:gd name="connsiteX0" fmla="*/ 0 w 2252712"/>
                <a:gd name="connsiteY0" fmla="*/ 407248 h 1188547"/>
                <a:gd name="connsiteX1" fmla="*/ 1028141 w 2252712"/>
                <a:gd name="connsiteY1" fmla="*/ 6131 h 1188547"/>
                <a:gd name="connsiteX2" fmla="*/ 2125633 w 2252712"/>
                <a:gd name="connsiteY2" fmla="*/ 979736 h 1188547"/>
                <a:gd name="connsiteX3" fmla="*/ 1276987 w 2252712"/>
                <a:gd name="connsiteY3" fmla="*/ 1035521 h 1188547"/>
                <a:gd name="connsiteX4" fmla="*/ 0 w 2252712"/>
                <a:gd name="connsiteY4" fmla="*/ 407248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12" h="1188547">
                  <a:moveTo>
                    <a:pt x="0" y="407248"/>
                  </a:moveTo>
                  <a:cubicBezTo>
                    <a:pt x="0" y="407248"/>
                    <a:pt x="444585" y="48260"/>
                    <a:pt x="1028141" y="6131"/>
                  </a:cubicBezTo>
                  <a:cubicBezTo>
                    <a:pt x="1993802" y="-63667"/>
                    <a:pt x="2508185" y="475083"/>
                    <a:pt x="2125633" y="979736"/>
                  </a:cubicBezTo>
                  <a:cubicBezTo>
                    <a:pt x="1867773" y="1319802"/>
                    <a:pt x="1437648" y="1173779"/>
                    <a:pt x="1276987" y="1035521"/>
                  </a:cubicBezTo>
                  <a:cubicBezTo>
                    <a:pt x="938171" y="743832"/>
                    <a:pt x="646571" y="226415"/>
                    <a:pt x="0" y="407248"/>
                  </a:cubicBezTo>
                  <a:close/>
                </a:path>
              </a:pathLst>
            </a:custGeom>
            <a:solidFill>
              <a:srgbClr val="4472C4"/>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FFA4179-3D49-797E-A1E7-6D6024A3D7CD}"/>
                </a:ext>
              </a:extLst>
            </p:cNvPr>
            <p:cNvSpPr/>
            <p:nvPr/>
          </p:nvSpPr>
          <p:spPr>
            <a:xfrm>
              <a:off x="4814235" y="1866145"/>
              <a:ext cx="1975198" cy="847612"/>
            </a:xfrm>
            <a:custGeom>
              <a:avLst/>
              <a:gdLst>
                <a:gd name="connsiteX0" fmla="*/ 113940 w 1975197"/>
                <a:gd name="connsiteY0" fmla="*/ 49965 h 847612"/>
                <a:gd name="connsiteX1" fmla="*/ 1380038 w 1975197"/>
                <a:gd name="connsiteY1" fmla="*/ 682254 h 847612"/>
                <a:gd name="connsiteX2" fmla="*/ 1975197 w 1975197"/>
                <a:gd name="connsiteY2" fmla="*/ 807124 h 847612"/>
                <a:gd name="connsiteX3" fmla="*/ 1339962 w 1975197"/>
                <a:gd name="connsiteY3" fmla="*/ 697428 h 847612"/>
                <a:gd name="connsiteX4" fmla="*/ 116707 w 1975197"/>
                <a:gd name="connsiteY4" fmla="*/ 74064 h 847612"/>
                <a:gd name="connsiteX5" fmla="*/ 81094 w 1975197"/>
                <a:gd name="connsiteY5" fmla="*/ 417342 h 847612"/>
                <a:gd name="connsiteX6" fmla="*/ 274869 w 1975197"/>
                <a:gd name="connsiteY6" fmla="*/ 526860 h 847612"/>
                <a:gd name="connsiteX7" fmla="*/ 58780 w 1975197"/>
                <a:gd name="connsiteY7" fmla="*/ 417521 h 847612"/>
                <a:gd name="connsiteX8" fmla="*/ 78684 w 1975197"/>
                <a:gd name="connsiteY8" fmla="*/ 76384 h 847612"/>
                <a:gd name="connsiteX9" fmla="*/ 113940 w 1975197"/>
                <a:gd name="connsiteY9" fmla="*/ 49965 h 84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197" h="847612">
                  <a:moveTo>
                    <a:pt x="113940" y="49965"/>
                  </a:moveTo>
                  <a:cubicBezTo>
                    <a:pt x="721328" y="-170052"/>
                    <a:pt x="1041222" y="390566"/>
                    <a:pt x="1380038" y="682254"/>
                  </a:cubicBezTo>
                  <a:cubicBezTo>
                    <a:pt x="1496338" y="782400"/>
                    <a:pt x="1743845" y="886561"/>
                    <a:pt x="1975197" y="807124"/>
                  </a:cubicBezTo>
                  <a:cubicBezTo>
                    <a:pt x="1737419" y="907983"/>
                    <a:pt x="1461885" y="801054"/>
                    <a:pt x="1339962" y="697428"/>
                  </a:cubicBezTo>
                  <a:cubicBezTo>
                    <a:pt x="1001146" y="409577"/>
                    <a:pt x="615470" y="-145149"/>
                    <a:pt x="116707" y="74064"/>
                  </a:cubicBezTo>
                  <a:cubicBezTo>
                    <a:pt x="44231" y="105928"/>
                    <a:pt x="-36189" y="266232"/>
                    <a:pt x="81094" y="417342"/>
                  </a:cubicBezTo>
                  <a:cubicBezTo>
                    <a:pt x="138218" y="490979"/>
                    <a:pt x="204000" y="524182"/>
                    <a:pt x="274869" y="526860"/>
                  </a:cubicBezTo>
                  <a:cubicBezTo>
                    <a:pt x="197038" y="529716"/>
                    <a:pt x="123491" y="498030"/>
                    <a:pt x="58780" y="417521"/>
                  </a:cubicBezTo>
                  <a:cubicBezTo>
                    <a:pt x="-44489" y="289171"/>
                    <a:pt x="5226" y="151716"/>
                    <a:pt x="78684" y="76384"/>
                  </a:cubicBezTo>
                  <a:cubicBezTo>
                    <a:pt x="88949" y="65763"/>
                    <a:pt x="100195" y="54963"/>
                    <a:pt x="113940" y="49965"/>
                  </a:cubicBezTo>
                  <a:close/>
                </a:path>
              </a:pathLst>
            </a:custGeom>
            <a:solidFill>
              <a:srgbClr val="4472C4">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30D1DEF5-010A-A0F3-8BA7-EB2E665E33D4}"/>
                </a:ext>
              </a:extLst>
            </p:cNvPr>
            <p:cNvSpPr/>
            <p:nvPr/>
          </p:nvSpPr>
          <p:spPr>
            <a:xfrm>
              <a:off x="7130781" y="2158280"/>
              <a:ext cx="601802" cy="1137908"/>
            </a:xfrm>
            <a:custGeom>
              <a:avLst/>
              <a:gdLst>
                <a:gd name="connsiteX0" fmla="*/ 396710 w 601801"/>
                <a:gd name="connsiteY0" fmla="*/ 1137909 h 1137908"/>
                <a:gd name="connsiteX1" fmla="*/ 598697 w 601801"/>
                <a:gd name="connsiteY1" fmla="*/ 620045 h 1137908"/>
                <a:gd name="connsiteX2" fmla="*/ 105735 w 601801"/>
                <a:gd name="connsiteY2" fmla="*/ 64337 h 1137908"/>
                <a:gd name="connsiteX3" fmla="*/ 77441 w 601801"/>
                <a:gd name="connsiteY3" fmla="*/ 494016 h 1137908"/>
                <a:gd name="connsiteX4" fmla="*/ 396710 w 601801"/>
                <a:gd name="connsiteY4" fmla="*/ 1137909 h 113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08">
                  <a:moveTo>
                    <a:pt x="396710" y="1137909"/>
                  </a:moveTo>
                  <a:cubicBezTo>
                    <a:pt x="396710" y="1137909"/>
                    <a:pt x="577275" y="915483"/>
                    <a:pt x="598697" y="620045"/>
                  </a:cubicBezTo>
                  <a:cubicBezTo>
                    <a:pt x="634042" y="131101"/>
                    <a:pt x="361275" y="-129348"/>
                    <a:pt x="105735" y="64337"/>
                  </a:cubicBezTo>
                  <a:cubicBezTo>
                    <a:pt x="-66440" y="194830"/>
                    <a:pt x="7464" y="412704"/>
                    <a:pt x="77441" y="494016"/>
                  </a:cubicBezTo>
                  <a:cubicBezTo>
                    <a:pt x="225160" y="665566"/>
                    <a:pt x="488197" y="810518"/>
                    <a:pt x="396710" y="1137909"/>
                  </a:cubicBezTo>
                  <a:close/>
                </a:path>
              </a:pathLst>
            </a:custGeom>
            <a:solidFill>
              <a:srgbClr val="ED7D31">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9A256938-4974-1C30-A989-03EC612BFD3A}"/>
                </a:ext>
              </a:extLst>
            </p:cNvPr>
            <p:cNvSpPr/>
            <p:nvPr/>
          </p:nvSpPr>
          <p:spPr>
            <a:xfrm>
              <a:off x="6820720" y="2255641"/>
              <a:ext cx="1188548" cy="2252747"/>
            </a:xfrm>
            <a:custGeom>
              <a:avLst/>
              <a:gdLst>
                <a:gd name="connsiteX0" fmla="*/ 781300 w 1188548"/>
                <a:gd name="connsiteY0" fmla="*/ 0 h 2252747"/>
                <a:gd name="connsiteX1" fmla="*/ 1182417 w 1188548"/>
                <a:gd name="connsiteY1" fmla="*/ 1028140 h 2252747"/>
                <a:gd name="connsiteX2" fmla="*/ 208811 w 1188548"/>
                <a:gd name="connsiteY2" fmla="*/ 2125633 h 2252747"/>
                <a:gd name="connsiteX3" fmla="*/ 153026 w 1188548"/>
                <a:gd name="connsiteY3" fmla="*/ 1276986 h 2252747"/>
                <a:gd name="connsiteX4" fmla="*/ 781300 w 1188548"/>
                <a:gd name="connsiteY4" fmla="*/ 0 h 2252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8" h="2252747">
                  <a:moveTo>
                    <a:pt x="781300" y="0"/>
                  </a:moveTo>
                  <a:cubicBezTo>
                    <a:pt x="781300" y="0"/>
                    <a:pt x="1140288" y="444584"/>
                    <a:pt x="1182417" y="1028140"/>
                  </a:cubicBezTo>
                  <a:cubicBezTo>
                    <a:pt x="1252215" y="1993802"/>
                    <a:pt x="713465" y="2508273"/>
                    <a:pt x="208811" y="2125633"/>
                  </a:cubicBezTo>
                  <a:cubicBezTo>
                    <a:pt x="-131254" y="1867772"/>
                    <a:pt x="14769" y="1437647"/>
                    <a:pt x="153026" y="1276986"/>
                  </a:cubicBezTo>
                  <a:cubicBezTo>
                    <a:pt x="444804" y="938170"/>
                    <a:pt x="962133" y="646482"/>
                    <a:pt x="781300" y="0"/>
                  </a:cubicBezTo>
                  <a:close/>
                </a:path>
              </a:pathLst>
            </a:custGeom>
            <a:solidFill>
              <a:srgbClr val="ED7D31"/>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25450A2E-FDE3-10B4-3110-889EF25EEB1C}"/>
                </a:ext>
              </a:extLst>
            </p:cNvPr>
            <p:cNvSpPr/>
            <p:nvPr/>
          </p:nvSpPr>
          <p:spPr>
            <a:xfrm>
              <a:off x="6809995" y="2154821"/>
              <a:ext cx="847613" cy="1975285"/>
            </a:xfrm>
            <a:custGeom>
              <a:avLst/>
              <a:gdLst>
                <a:gd name="connsiteX0" fmla="*/ 797649 w 847613"/>
                <a:gd name="connsiteY0" fmla="*/ 114029 h 1975285"/>
                <a:gd name="connsiteX1" fmla="*/ 165359 w 847613"/>
                <a:gd name="connsiteY1" fmla="*/ 1380126 h 1975285"/>
                <a:gd name="connsiteX2" fmla="*/ 40489 w 847613"/>
                <a:gd name="connsiteY2" fmla="*/ 1975286 h 1975285"/>
                <a:gd name="connsiteX3" fmla="*/ 150185 w 847613"/>
                <a:gd name="connsiteY3" fmla="*/ 1339961 h 1975285"/>
                <a:gd name="connsiteX4" fmla="*/ 773550 w 847613"/>
                <a:gd name="connsiteY4" fmla="*/ 116707 h 1975285"/>
                <a:gd name="connsiteX5" fmla="*/ 430271 w 847613"/>
                <a:gd name="connsiteY5" fmla="*/ 81094 h 1975285"/>
                <a:gd name="connsiteX6" fmla="*/ 320753 w 847613"/>
                <a:gd name="connsiteY6" fmla="*/ 274869 h 1975285"/>
                <a:gd name="connsiteX7" fmla="*/ 430092 w 847613"/>
                <a:gd name="connsiteY7" fmla="*/ 58780 h 1975285"/>
                <a:gd name="connsiteX8" fmla="*/ 771229 w 847613"/>
                <a:gd name="connsiteY8" fmla="*/ 78684 h 1975285"/>
                <a:gd name="connsiteX9" fmla="*/ 797649 w 847613"/>
                <a:gd name="connsiteY9" fmla="*/ 114029 h 19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285">
                  <a:moveTo>
                    <a:pt x="797649" y="114029"/>
                  </a:moveTo>
                  <a:cubicBezTo>
                    <a:pt x="1017665" y="721417"/>
                    <a:pt x="457048" y="1041310"/>
                    <a:pt x="165359" y="1380126"/>
                  </a:cubicBezTo>
                  <a:cubicBezTo>
                    <a:pt x="65213" y="1496516"/>
                    <a:pt x="-38948" y="1744023"/>
                    <a:pt x="40489" y="1975286"/>
                  </a:cubicBezTo>
                  <a:cubicBezTo>
                    <a:pt x="-60370" y="1737508"/>
                    <a:pt x="46559" y="1461974"/>
                    <a:pt x="150185" y="1339961"/>
                  </a:cubicBezTo>
                  <a:cubicBezTo>
                    <a:pt x="438036" y="1001145"/>
                    <a:pt x="992673" y="615470"/>
                    <a:pt x="773550" y="116707"/>
                  </a:cubicBezTo>
                  <a:cubicBezTo>
                    <a:pt x="741685" y="44231"/>
                    <a:pt x="581381" y="-36188"/>
                    <a:pt x="430271" y="81094"/>
                  </a:cubicBezTo>
                  <a:cubicBezTo>
                    <a:pt x="356635" y="138218"/>
                    <a:pt x="323431" y="204000"/>
                    <a:pt x="320753" y="274869"/>
                  </a:cubicBezTo>
                  <a:cubicBezTo>
                    <a:pt x="317897" y="197038"/>
                    <a:pt x="349583" y="123491"/>
                    <a:pt x="430092" y="58780"/>
                  </a:cubicBezTo>
                  <a:cubicBezTo>
                    <a:pt x="558532" y="-44489"/>
                    <a:pt x="695897" y="5226"/>
                    <a:pt x="771229" y="78684"/>
                  </a:cubicBezTo>
                  <a:cubicBezTo>
                    <a:pt x="781850" y="89038"/>
                    <a:pt x="792650" y="100284"/>
                    <a:pt x="797649" y="114029"/>
                  </a:cubicBezTo>
                  <a:close/>
                </a:path>
              </a:pathLst>
            </a:custGeom>
            <a:solidFill>
              <a:srgbClr val="ED7D31">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16152BF7-34CC-99EC-5186-A77428042C78}"/>
                </a:ext>
              </a:extLst>
            </p:cNvPr>
            <p:cNvSpPr/>
            <p:nvPr/>
          </p:nvSpPr>
          <p:spPr>
            <a:xfrm>
              <a:off x="6239706" y="4468957"/>
              <a:ext cx="1137999" cy="601802"/>
            </a:xfrm>
            <a:custGeom>
              <a:avLst/>
              <a:gdLst>
                <a:gd name="connsiteX0" fmla="*/ 0 w 1137998"/>
                <a:gd name="connsiteY0" fmla="*/ 396710 h 601801"/>
                <a:gd name="connsiteX1" fmla="*/ 517953 w 1137998"/>
                <a:gd name="connsiteY1" fmla="*/ 598696 h 601801"/>
                <a:gd name="connsiteX2" fmla="*/ 1073661 w 1137998"/>
                <a:gd name="connsiteY2" fmla="*/ 105735 h 601801"/>
                <a:gd name="connsiteX3" fmla="*/ 643983 w 1137998"/>
                <a:gd name="connsiteY3" fmla="*/ 77441 h 601801"/>
                <a:gd name="connsiteX4" fmla="*/ 0 w 1137998"/>
                <a:gd name="connsiteY4" fmla="*/ 396710 h 60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998" h="601801">
                  <a:moveTo>
                    <a:pt x="0" y="396710"/>
                  </a:moveTo>
                  <a:cubicBezTo>
                    <a:pt x="0" y="396710"/>
                    <a:pt x="222426" y="577275"/>
                    <a:pt x="517953" y="598696"/>
                  </a:cubicBezTo>
                  <a:cubicBezTo>
                    <a:pt x="1006898" y="634041"/>
                    <a:pt x="1267347" y="361275"/>
                    <a:pt x="1073661" y="105735"/>
                  </a:cubicBezTo>
                  <a:cubicBezTo>
                    <a:pt x="943169" y="-66440"/>
                    <a:pt x="725295" y="7464"/>
                    <a:pt x="643983" y="77441"/>
                  </a:cubicBezTo>
                  <a:cubicBezTo>
                    <a:pt x="472432" y="225159"/>
                    <a:pt x="327391" y="488197"/>
                    <a:pt x="0" y="396710"/>
                  </a:cubicBezTo>
                  <a:close/>
                </a:path>
              </a:pathLst>
            </a:custGeom>
            <a:solidFill>
              <a:srgbClr val="A5A5A5">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93656490-BA28-F9CF-A80E-5871EF9A1F73}"/>
                </a:ext>
              </a:extLst>
            </p:cNvPr>
            <p:cNvSpPr/>
            <p:nvPr/>
          </p:nvSpPr>
          <p:spPr>
            <a:xfrm>
              <a:off x="5027593" y="4158895"/>
              <a:ext cx="2252749" cy="1188548"/>
            </a:xfrm>
            <a:custGeom>
              <a:avLst/>
              <a:gdLst>
                <a:gd name="connsiteX0" fmla="*/ 2252749 w 2252748"/>
                <a:gd name="connsiteY0" fmla="*/ 781299 h 1188547"/>
                <a:gd name="connsiteX1" fmla="*/ 1224608 w 2252748"/>
                <a:gd name="connsiteY1" fmla="*/ 1182416 h 1188547"/>
                <a:gd name="connsiteX2" fmla="*/ 127115 w 2252748"/>
                <a:gd name="connsiteY2" fmla="*/ 208811 h 1188547"/>
                <a:gd name="connsiteX3" fmla="*/ 975762 w 2252748"/>
                <a:gd name="connsiteY3" fmla="*/ 153026 h 1188547"/>
                <a:gd name="connsiteX4" fmla="*/ 2252749 w 2252748"/>
                <a:gd name="connsiteY4" fmla="*/ 781299 h 1188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2748" h="1188547">
                  <a:moveTo>
                    <a:pt x="2252749" y="781299"/>
                  </a:moveTo>
                  <a:cubicBezTo>
                    <a:pt x="2252749" y="781299"/>
                    <a:pt x="1808164" y="1140287"/>
                    <a:pt x="1224608" y="1182416"/>
                  </a:cubicBezTo>
                  <a:cubicBezTo>
                    <a:pt x="258946" y="1252214"/>
                    <a:pt x="-255526" y="713465"/>
                    <a:pt x="127115" y="208811"/>
                  </a:cubicBezTo>
                  <a:cubicBezTo>
                    <a:pt x="384976" y="-131254"/>
                    <a:pt x="815101" y="14769"/>
                    <a:pt x="975762" y="153026"/>
                  </a:cubicBezTo>
                  <a:cubicBezTo>
                    <a:pt x="1314489" y="444715"/>
                    <a:pt x="1606178" y="962132"/>
                    <a:pt x="2252749" y="781299"/>
                  </a:cubicBezTo>
                  <a:close/>
                </a:path>
              </a:pathLst>
            </a:custGeom>
            <a:solidFill>
              <a:srgbClr val="A5A5A5"/>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59939129-DDA9-04A6-B52C-7BAE78A13738}"/>
                </a:ext>
              </a:extLst>
            </p:cNvPr>
            <p:cNvSpPr/>
            <p:nvPr/>
          </p:nvSpPr>
          <p:spPr>
            <a:xfrm>
              <a:off x="5405785" y="4148169"/>
              <a:ext cx="1975376" cy="847613"/>
            </a:xfrm>
            <a:custGeom>
              <a:avLst/>
              <a:gdLst>
                <a:gd name="connsiteX0" fmla="*/ 1861257 w 1975375"/>
                <a:gd name="connsiteY0" fmla="*/ 797649 h 847613"/>
                <a:gd name="connsiteX1" fmla="*/ 595160 w 1975375"/>
                <a:gd name="connsiteY1" fmla="*/ 165359 h 847613"/>
                <a:gd name="connsiteX2" fmla="*/ 0 w 1975375"/>
                <a:gd name="connsiteY2" fmla="*/ 40489 h 847613"/>
                <a:gd name="connsiteX3" fmla="*/ 635235 w 1975375"/>
                <a:gd name="connsiteY3" fmla="*/ 150185 h 847613"/>
                <a:gd name="connsiteX4" fmla="*/ 1858490 w 1975375"/>
                <a:gd name="connsiteY4" fmla="*/ 773549 h 847613"/>
                <a:gd name="connsiteX5" fmla="*/ 1894193 w 1975375"/>
                <a:gd name="connsiteY5" fmla="*/ 430271 h 847613"/>
                <a:gd name="connsiteX6" fmla="*/ 1700417 w 1975375"/>
                <a:gd name="connsiteY6" fmla="*/ 320754 h 847613"/>
                <a:gd name="connsiteX7" fmla="*/ 1916596 w 1975375"/>
                <a:gd name="connsiteY7" fmla="*/ 430003 h 847613"/>
                <a:gd name="connsiteX8" fmla="*/ 1896692 w 1975375"/>
                <a:gd name="connsiteY8" fmla="*/ 771139 h 847613"/>
                <a:gd name="connsiteX9" fmla="*/ 1861257 w 1975375"/>
                <a:gd name="connsiteY9" fmla="*/ 797649 h 84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5375" h="847613">
                  <a:moveTo>
                    <a:pt x="1861257" y="797649"/>
                  </a:moveTo>
                  <a:cubicBezTo>
                    <a:pt x="1253869" y="1017665"/>
                    <a:pt x="933976" y="457047"/>
                    <a:pt x="595160" y="165359"/>
                  </a:cubicBezTo>
                  <a:cubicBezTo>
                    <a:pt x="478770" y="65213"/>
                    <a:pt x="231263" y="-38948"/>
                    <a:pt x="0" y="40489"/>
                  </a:cubicBezTo>
                  <a:cubicBezTo>
                    <a:pt x="237778" y="-60370"/>
                    <a:pt x="513312" y="46559"/>
                    <a:pt x="635235" y="150185"/>
                  </a:cubicBezTo>
                  <a:cubicBezTo>
                    <a:pt x="974052" y="438036"/>
                    <a:pt x="1359727" y="992762"/>
                    <a:pt x="1858490" y="773549"/>
                  </a:cubicBezTo>
                  <a:cubicBezTo>
                    <a:pt x="1930966" y="741685"/>
                    <a:pt x="2011386" y="581381"/>
                    <a:pt x="1894193" y="430271"/>
                  </a:cubicBezTo>
                  <a:cubicBezTo>
                    <a:pt x="1837069" y="356634"/>
                    <a:pt x="1771287" y="323431"/>
                    <a:pt x="1700417" y="320754"/>
                  </a:cubicBezTo>
                  <a:cubicBezTo>
                    <a:pt x="1778249" y="317897"/>
                    <a:pt x="1851796" y="349583"/>
                    <a:pt x="1916596" y="430003"/>
                  </a:cubicBezTo>
                  <a:cubicBezTo>
                    <a:pt x="2019865" y="558442"/>
                    <a:pt x="1970149" y="695807"/>
                    <a:pt x="1896692" y="771139"/>
                  </a:cubicBezTo>
                  <a:cubicBezTo>
                    <a:pt x="1886338" y="781850"/>
                    <a:pt x="1875002" y="792650"/>
                    <a:pt x="1861257" y="797649"/>
                  </a:cubicBezTo>
                  <a:close/>
                </a:path>
              </a:pathLst>
            </a:custGeom>
            <a:solidFill>
              <a:srgbClr val="A5A5A5">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FC68286E-65E1-96D5-C810-918B9798F19F}"/>
                </a:ext>
              </a:extLst>
            </p:cNvPr>
            <p:cNvSpPr/>
            <p:nvPr/>
          </p:nvSpPr>
          <p:spPr>
            <a:xfrm>
              <a:off x="4462634" y="3570382"/>
              <a:ext cx="601802" cy="1137956"/>
            </a:xfrm>
            <a:custGeom>
              <a:avLst/>
              <a:gdLst>
                <a:gd name="connsiteX0" fmla="*/ 205092 w 601801"/>
                <a:gd name="connsiteY0" fmla="*/ 0 h 1137956"/>
                <a:gd name="connsiteX1" fmla="*/ 3105 w 601801"/>
                <a:gd name="connsiteY1" fmla="*/ 517953 h 1137956"/>
                <a:gd name="connsiteX2" fmla="*/ 496067 w 601801"/>
                <a:gd name="connsiteY2" fmla="*/ 1073572 h 1137956"/>
                <a:gd name="connsiteX3" fmla="*/ 524361 w 601801"/>
                <a:gd name="connsiteY3" fmla="*/ 643893 h 1137956"/>
                <a:gd name="connsiteX4" fmla="*/ 205092 w 601801"/>
                <a:gd name="connsiteY4" fmla="*/ 0 h 1137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801" h="1137956">
                  <a:moveTo>
                    <a:pt x="205092" y="0"/>
                  </a:moveTo>
                  <a:cubicBezTo>
                    <a:pt x="205092" y="0"/>
                    <a:pt x="24527" y="222426"/>
                    <a:pt x="3105" y="517953"/>
                  </a:cubicBezTo>
                  <a:cubicBezTo>
                    <a:pt x="-32240" y="1006897"/>
                    <a:pt x="240527" y="1267346"/>
                    <a:pt x="496067" y="1073572"/>
                  </a:cubicBezTo>
                  <a:cubicBezTo>
                    <a:pt x="668242" y="943079"/>
                    <a:pt x="594338" y="725205"/>
                    <a:pt x="524361" y="643893"/>
                  </a:cubicBezTo>
                  <a:cubicBezTo>
                    <a:pt x="376642" y="472343"/>
                    <a:pt x="113604" y="327391"/>
                    <a:pt x="205092" y="0"/>
                  </a:cubicBezTo>
                  <a:close/>
                </a:path>
              </a:pathLst>
            </a:custGeom>
            <a:solidFill>
              <a:srgbClr val="FFC000">
                <a:lumMod val="75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DC87F930-A364-FE9B-532A-2C4B66DA576F}"/>
                </a:ext>
              </a:extLst>
            </p:cNvPr>
            <p:cNvSpPr/>
            <p:nvPr/>
          </p:nvSpPr>
          <p:spPr>
            <a:xfrm>
              <a:off x="4185947" y="2358217"/>
              <a:ext cx="1188548" cy="2252711"/>
            </a:xfrm>
            <a:custGeom>
              <a:avLst/>
              <a:gdLst>
                <a:gd name="connsiteX0" fmla="*/ 407248 w 1188547"/>
                <a:gd name="connsiteY0" fmla="*/ 2252712 h 2252711"/>
                <a:gd name="connsiteX1" fmla="*/ 6131 w 1188547"/>
                <a:gd name="connsiteY1" fmla="*/ 1224571 h 2252711"/>
                <a:gd name="connsiteX2" fmla="*/ 979737 w 1188547"/>
                <a:gd name="connsiteY2" fmla="*/ 127079 h 2252711"/>
                <a:gd name="connsiteX3" fmla="*/ 1035522 w 1188547"/>
                <a:gd name="connsiteY3" fmla="*/ 975725 h 2252711"/>
                <a:gd name="connsiteX4" fmla="*/ 407248 w 1188547"/>
                <a:gd name="connsiteY4" fmla="*/ 2252712 h 2252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547" h="2252711">
                  <a:moveTo>
                    <a:pt x="407248" y="2252712"/>
                  </a:moveTo>
                  <a:cubicBezTo>
                    <a:pt x="407248" y="2252712"/>
                    <a:pt x="48260" y="1808127"/>
                    <a:pt x="6131" y="1224571"/>
                  </a:cubicBezTo>
                  <a:cubicBezTo>
                    <a:pt x="-63667" y="258910"/>
                    <a:pt x="475083" y="-255473"/>
                    <a:pt x="979737" y="127079"/>
                  </a:cubicBezTo>
                  <a:cubicBezTo>
                    <a:pt x="1319802" y="384939"/>
                    <a:pt x="1173779" y="815064"/>
                    <a:pt x="1035522" y="975725"/>
                  </a:cubicBezTo>
                  <a:cubicBezTo>
                    <a:pt x="743833" y="1314541"/>
                    <a:pt x="226415" y="1606230"/>
                    <a:pt x="407248" y="2252712"/>
                  </a:cubicBezTo>
                  <a:close/>
                </a:path>
              </a:pathLst>
            </a:custGeom>
            <a:solidFill>
              <a:srgbClr val="FFC000"/>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F198710E-D660-C5EC-FBE4-D05C325B3B21}"/>
                </a:ext>
              </a:extLst>
            </p:cNvPr>
            <p:cNvSpPr/>
            <p:nvPr/>
          </p:nvSpPr>
          <p:spPr>
            <a:xfrm>
              <a:off x="4537607" y="2736463"/>
              <a:ext cx="847613" cy="1975323"/>
            </a:xfrm>
            <a:custGeom>
              <a:avLst/>
              <a:gdLst>
                <a:gd name="connsiteX0" fmla="*/ 49965 w 847613"/>
                <a:gd name="connsiteY0" fmla="*/ 1861256 h 1975323"/>
                <a:gd name="connsiteX1" fmla="*/ 682255 w 847613"/>
                <a:gd name="connsiteY1" fmla="*/ 595159 h 1975323"/>
                <a:gd name="connsiteX2" fmla="*/ 807124 w 847613"/>
                <a:gd name="connsiteY2" fmla="*/ 0 h 1975323"/>
                <a:gd name="connsiteX3" fmla="*/ 697428 w 847613"/>
                <a:gd name="connsiteY3" fmla="*/ 635235 h 1975323"/>
                <a:gd name="connsiteX4" fmla="*/ 74064 w 847613"/>
                <a:gd name="connsiteY4" fmla="*/ 1858489 h 1975323"/>
                <a:gd name="connsiteX5" fmla="*/ 417343 w 847613"/>
                <a:gd name="connsiteY5" fmla="*/ 1894102 h 1975323"/>
                <a:gd name="connsiteX6" fmla="*/ 526949 w 847613"/>
                <a:gd name="connsiteY6" fmla="*/ 1700328 h 1975323"/>
                <a:gd name="connsiteX7" fmla="*/ 417610 w 847613"/>
                <a:gd name="connsiteY7" fmla="*/ 1916506 h 1975323"/>
                <a:gd name="connsiteX8" fmla="*/ 76474 w 847613"/>
                <a:gd name="connsiteY8" fmla="*/ 1896602 h 1975323"/>
                <a:gd name="connsiteX9" fmla="*/ 49965 w 847613"/>
                <a:gd name="connsiteY9" fmla="*/ 1861256 h 19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613" h="1975323">
                  <a:moveTo>
                    <a:pt x="49965" y="1861256"/>
                  </a:moveTo>
                  <a:cubicBezTo>
                    <a:pt x="-170052" y="1253869"/>
                    <a:pt x="390566" y="933975"/>
                    <a:pt x="682255" y="595159"/>
                  </a:cubicBezTo>
                  <a:cubicBezTo>
                    <a:pt x="782400" y="478859"/>
                    <a:pt x="886562" y="231352"/>
                    <a:pt x="807124" y="0"/>
                  </a:cubicBezTo>
                  <a:cubicBezTo>
                    <a:pt x="907983" y="237778"/>
                    <a:pt x="801054" y="513311"/>
                    <a:pt x="697428" y="635235"/>
                  </a:cubicBezTo>
                  <a:cubicBezTo>
                    <a:pt x="409577" y="974051"/>
                    <a:pt x="-145149" y="1359727"/>
                    <a:pt x="74064" y="1858489"/>
                  </a:cubicBezTo>
                  <a:cubicBezTo>
                    <a:pt x="105928" y="1930965"/>
                    <a:pt x="266232" y="2011385"/>
                    <a:pt x="417343" y="1894102"/>
                  </a:cubicBezTo>
                  <a:cubicBezTo>
                    <a:pt x="490979" y="1836979"/>
                    <a:pt x="524182" y="1771197"/>
                    <a:pt x="526949" y="1700328"/>
                  </a:cubicBezTo>
                  <a:cubicBezTo>
                    <a:pt x="529805" y="1778159"/>
                    <a:pt x="498119" y="1851706"/>
                    <a:pt x="417610" y="1916506"/>
                  </a:cubicBezTo>
                  <a:cubicBezTo>
                    <a:pt x="289171" y="2019864"/>
                    <a:pt x="151806" y="1970059"/>
                    <a:pt x="76474" y="1896602"/>
                  </a:cubicBezTo>
                  <a:cubicBezTo>
                    <a:pt x="65763" y="1886248"/>
                    <a:pt x="54963" y="1875002"/>
                    <a:pt x="49965" y="1861256"/>
                  </a:cubicBezTo>
                  <a:close/>
                </a:path>
              </a:pathLst>
            </a:custGeom>
            <a:solidFill>
              <a:srgbClr val="FFC000">
                <a:lumMod val="60000"/>
                <a:lumOff val="40000"/>
              </a:srgbClr>
            </a:solidFill>
            <a:ln w="89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1" i="0" u="none" strike="noStrike" kern="0" cap="none" spc="0" normalizeH="0" baseline="0" noProof="0">
                <a:ln>
                  <a:noFill/>
                </a:ln>
                <a:solidFill>
                  <a:prstClr val="black"/>
                </a:solidFill>
                <a:effectLst/>
                <a:uLnTx/>
                <a:uFillTx/>
                <a:latin typeface="Calibri"/>
                <a:ea typeface="+mn-ea"/>
                <a:cs typeface="+mn-cs"/>
              </a:endParaRPr>
            </a:p>
          </p:txBody>
        </p:sp>
      </p:gr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3" name="Callout: Bent Line 2">
            <a:extLst>
              <a:ext uri="{FF2B5EF4-FFF2-40B4-BE49-F238E27FC236}">
                <a16:creationId xmlns:a16="http://schemas.microsoft.com/office/drawing/2014/main" id="{EE6F608E-D63C-1D87-E9C7-0360BE4F6B56}"/>
              </a:ext>
            </a:extLst>
          </p:cNvPr>
          <p:cNvSpPr/>
          <p:nvPr/>
        </p:nvSpPr>
        <p:spPr>
          <a:xfrm>
            <a:off x="8702401" y="3835613"/>
            <a:ext cx="3118715" cy="1280160"/>
          </a:xfrm>
          <a:prstGeom prst="borderCallout2">
            <a:avLst>
              <a:gd name="adj1" fmla="val 51579"/>
              <a:gd name="adj2" fmla="val -754"/>
              <a:gd name="adj3" fmla="val 51884"/>
              <a:gd name="adj4" fmla="val -9319"/>
              <a:gd name="adj5" fmla="val 105788"/>
              <a:gd name="adj6" fmla="val -9296"/>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a:ea typeface="+mn-ea"/>
                <a:cs typeface="+mn-cs"/>
              </a:rPr>
              <a:t>3. Post-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nce penetration testing is concluded, it is reported along with remediation best practices. The organization retests the identified vulnerabilities to validate findings. Testers then clean the environment by removing the added accounts and tools.</a:t>
            </a:r>
            <a:endParaRPr kumimoji="0" lang="en-GB" sz="1100" b="0" i="0" u="none" strike="noStrike" kern="1200" cap="none" spc="0" normalizeH="0" baseline="0" noProof="0">
              <a:ln>
                <a:noFill/>
              </a:ln>
              <a:solidFill>
                <a:srgbClr val="000000"/>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552E4E6C-2ECB-7386-F0F8-4022EA8213F7}"/>
              </a:ext>
            </a:extLst>
          </p:cNvPr>
          <p:cNvCxnSpPr>
            <a:endCxn id="31" idx="0"/>
          </p:cNvCxnSpPr>
          <p:nvPr/>
        </p:nvCxnSpPr>
        <p:spPr>
          <a:xfrm flipH="1" flipV="1">
            <a:off x="7567601" y="5209010"/>
            <a:ext cx="855963" cy="7400"/>
          </a:xfrm>
          <a:prstGeom prst="line">
            <a:avLst/>
          </a:prstGeom>
          <a:noFill/>
          <a:ln>
            <a:solidFill>
              <a:srgbClr val="7C7C7C"/>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87356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graphicFrame>
        <p:nvGraphicFramePr>
          <p:cNvPr id="13" name="Diagram 12">
            <a:extLst>
              <a:ext uri="{FF2B5EF4-FFF2-40B4-BE49-F238E27FC236}">
                <a16:creationId xmlns:a16="http://schemas.microsoft.com/office/drawing/2014/main" id="{9E826BCF-6374-AF07-6601-25A3A8DEE186}"/>
              </a:ext>
            </a:extLst>
          </p:cNvPr>
          <p:cNvGraphicFramePr/>
          <p:nvPr/>
        </p:nvGraphicFramePr>
        <p:xfrm>
          <a:off x="6241142" y="1596571"/>
          <a:ext cx="5631543" cy="46445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5" y="1881488"/>
            <a:ext cx="4709554" cy="25163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dirty="0">
                <a:ln>
                  <a:noFill/>
                </a:ln>
                <a:solidFill>
                  <a:srgbClr val="000000"/>
                </a:solidFill>
                <a:effectLst/>
                <a:uLnTx/>
                <a:uFillTx/>
                <a:latin typeface="Calibri"/>
                <a:ea typeface="+mn-ea"/>
                <a:cs typeface="Calibri"/>
              </a:rPr>
              <a:t>OWASP Top 10 Mobile Vulnerabilitie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dirty="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dirty="0">
                <a:ln>
                  <a:noFill/>
                </a:ln>
                <a:solidFill>
                  <a:srgbClr val="000000"/>
                </a:solidFill>
                <a:effectLst/>
                <a:uLnTx/>
                <a:uFillTx/>
                <a:latin typeface="Calibri"/>
                <a:ea typeface="+mn-ea"/>
                <a:cs typeface="Calibri"/>
              </a:rPr>
              <a:t>Our penetration testing experts conduct vulnerability assessment and penetration testing of mobile applications keeping in view the OWASP top 10 mobile vulnerabilities. This ensures that our PT exercise delivers the maximum value to our Clients.</a:t>
            </a:r>
          </a:p>
        </p:txBody>
      </p:sp>
      <p:grpSp>
        <p:nvGrpSpPr>
          <p:cNvPr id="21" name="Group 20">
            <a:extLst>
              <a:ext uri="{FF2B5EF4-FFF2-40B4-BE49-F238E27FC236}">
                <a16:creationId xmlns:a16="http://schemas.microsoft.com/office/drawing/2014/main" id="{A9F1A26F-C593-2427-E71E-A7CF35BDB1A3}"/>
              </a:ext>
            </a:extLst>
          </p:cNvPr>
          <p:cNvGrpSpPr/>
          <p:nvPr/>
        </p:nvGrpSpPr>
        <p:grpSpPr>
          <a:xfrm>
            <a:off x="838199" y="4526393"/>
            <a:ext cx="4284115" cy="1395435"/>
            <a:chOff x="838199" y="4526394"/>
            <a:chExt cx="3482793" cy="1134426"/>
          </a:xfrm>
        </p:grpSpPr>
        <p:pic>
          <p:nvPicPr>
            <p:cNvPr id="18" name="Picture 2" descr="http://static.giantbomb.com/uploads/original/15/157771/2312719-a6.jpg">
              <a:extLst>
                <a:ext uri="{FF2B5EF4-FFF2-40B4-BE49-F238E27FC236}">
                  <a16:creationId xmlns:a16="http://schemas.microsoft.com/office/drawing/2014/main" id="{EB880431-27D4-A00E-4F3B-0A6A766430E8}"/>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34944" y="4534815"/>
              <a:ext cx="1086048" cy="962729"/>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4" descr="http://www.chariotgroup.com/blog/wp-content/uploads/2012/04/ios-logo.jpg">
              <a:extLst>
                <a:ext uri="{FF2B5EF4-FFF2-40B4-BE49-F238E27FC236}">
                  <a16:creationId xmlns:a16="http://schemas.microsoft.com/office/drawing/2014/main" id="{427DFF3C-02B7-4412-9C97-3F1E076996A0}"/>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 b="-1820"/>
            <a:stretch/>
          </p:blipFill>
          <p:spPr bwMode="auto">
            <a:xfrm>
              <a:off x="2077533" y="4526394"/>
              <a:ext cx="1114159" cy="113442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0" name="Picture 8" descr="http://asia.cnet.com/i/r/2008/crave/hh/63002818/windows_mobile_logo_3_200.jpg">
              <a:extLst>
                <a:ext uri="{FF2B5EF4-FFF2-40B4-BE49-F238E27FC236}">
                  <a16:creationId xmlns:a16="http://schemas.microsoft.com/office/drawing/2014/main" id="{A0F86E23-D7FC-841D-9C76-8EE036747810}"/>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99" y="4634435"/>
              <a:ext cx="1224459" cy="918344"/>
            </a:xfrm>
            <a:prstGeom prst="rect">
              <a:avLst/>
            </a:prstGeom>
            <a:noFill/>
            <a:effectLst>
              <a:reflection stA="36000" endPos="7000" dir="5400000" sy="-100000" algn="bl" rotWithShape="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205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2000"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8"/>
            <a:ext cx="6338405" cy="462939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14" normalizeH="0" baseline="0" noProof="0">
                <a:ln>
                  <a:noFill/>
                </a:ln>
                <a:solidFill>
                  <a:srgbClr val="000000"/>
                </a:solidFill>
                <a:effectLst/>
                <a:uLnTx/>
                <a:uFillTx/>
                <a:latin typeface="Calibri"/>
                <a:ea typeface="+mn-ea"/>
                <a:cs typeface="Calibri"/>
              </a:rPr>
              <a:t>OWASP (Web Application Penetration Testing)</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initial stage, an understanding of the architecture &amp; underlying framework along with technologies used by web application will be developed. It includes web servers, databases, web application firewalls, load balancers and so on.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The Second stage will be the assessment of critical functions which includes working of application, supporting business functions and implementation of authentication, authorization and access control mechanisms. </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After the assessment, the web application and its supporting infrastructure will be tested against publicly available exploits. Intrusive and non-intrusive exploits will be used to simulate an actual hacker attack on the particular web application and its infrastructure.</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In the last stage, all the information &amp; evidences gathered during the exercise will be </a:t>
            </a:r>
            <a:r>
              <a:rPr kumimoji="0" lang="en-GB" sz="1800" b="0" i="0" u="none" strike="noStrike" kern="1200" cap="none" spc="14" normalizeH="0" baseline="0" noProof="0">
                <a:ln>
                  <a:noFill/>
                </a:ln>
                <a:solidFill>
                  <a:srgbClr val="000000"/>
                </a:solidFill>
                <a:effectLst/>
                <a:uLnTx/>
                <a:uFillTx/>
                <a:latin typeface="Calibri"/>
                <a:ea typeface="+mn-ea"/>
                <a:cs typeface="Calibri"/>
              </a:rPr>
              <a:t>analysed</a:t>
            </a:r>
            <a:r>
              <a:rPr kumimoji="0" lang="en-US" sz="1800" b="0" i="0" u="none" strike="noStrike" kern="1200" cap="none" spc="14" normalizeH="0" baseline="0" noProof="0">
                <a:ln>
                  <a:noFill/>
                </a:ln>
                <a:solidFill>
                  <a:srgbClr val="000000"/>
                </a:solidFill>
                <a:effectLst/>
                <a:uLnTx/>
                <a:uFillTx/>
                <a:latin typeface="Calibri"/>
                <a:ea typeface="+mn-ea"/>
                <a:cs typeface="Calibri"/>
              </a:rPr>
              <a:t>. A report will be formulated during this phase which shall include risk rating, tools used, detailed information regarding the weakness and the recommendations to mitigate the identified risks associated with the weaknesses.</a:t>
            </a:r>
          </a:p>
        </p:txBody>
      </p:sp>
      <p:pic>
        <p:nvPicPr>
          <p:cNvPr id="3" name="Picture 2">
            <a:extLst>
              <a:ext uri="{FF2B5EF4-FFF2-40B4-BE49-F238E27FC236}">
                <a16:creationId xmlns:a16="http://schemas.microsoft.com/office/drawing/2014/main" id="{B4DFA3C8-8C14-B69B-6A47-9DCB1EEE29B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00628" y="1968655"/>
            <a:ext cx="3953173" cy="3953173"/>
          </a:xfrm>
          <a:prstGeom prst="rect">
            <a:avLst/>
          </a:prstGeom>
        </p:spPr>
      </p:pic>
    </p:spTree>
    <p:extLst>
      <p:ext uri="{BB962C8B-B14F-4D97-AF65-F5344CB8AC3E}">
        <p14:creationId xmlns:p14="http://schemas.microsoft.com/office/powerpoint/2010/main" val="6491827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496AE-C1A2-350C-3ACE-45173874C9E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p:blipFill>
        <p:spPr>
          <a:xfrm flipH="1">
            <a:off x="-11034" y="-21955"/>
            <a:ext cx="12203034" cy="1477813"/>
          </a:xfrm>
          <a:prstGeom prst="rect">
            <a:avLst/>
          </a:prstGeom>
        </p:spPr>
      </p:pic>
      <p:sp>
        <p:nvSpPr>
          <p:cNvPr id="11" name="AutoShape 3">
            <a:extLst>
              <a:ext uri="{FF2B5EF4-FFF2-40B4-BE49-F238E27FC236}">
                <a16:creationId xmlns:a16="http://schemas.microsoft.com/office/drawing/2014/main" id="{47E52B44-4694-7155-217C-EA8B672B63D3}"/>
              </a:ext>
            </a:extLst>
          </p:cNvPr>
          <p:cNvSpPr/>
          <p:nvPr/>
        </p:nvSpPr>
        <p:spPr>
          <a:xfrm>
            <a:off x="-11035" y="-28369"/>
            <a:ext cx="12203034" cy="1496223"/>
          </a:xfrm>
          <a:prstGeom prst="rect">
            <a:avLst/>
          </a:prstGeom>
          <a:solidFill>
            <a:schemeClr val="tx1">
              <a:alpha val="75000"/>
            </a:schemeClr>
          </a:solidFill>
        </p:spPr>
        <p:txBody>
          <a:bodyPr anchor="ctr"/>
          <a:lstStyle/>
          <a:p>
            <a:pPr marL="0" marR="0" lvl="0" indent="914400" algn="l" defTabSz="914400" rtl="0" eaLnBrk="1" fontAlgn="auto" latinLnBrk="0" hangingPunct="1">
              <a:lnSpc>
                <a:spcPct val="100000"/>
              </a:lnSpc>
              <a:spcBef>
                <a:spcPts val="0"/>
              </a:spcBef>
              <a:spcAft>
                <a:spcPts val="0"/>
              </a:spcAft>
              <a:buClrTx/>
              <a:buSzTx/>
              <a:buFontTx/>
              <a:buNone/>
              <a:tabLst/>
              <a:defRPr/>
            </a:pPr>
            <a:endParaRPr kumimoji="0" lang="en-GB" sz="4400" b="1" i="0" u="none" strike="noStrike" kern="1200" cap="none" spc="0" normalizeH="0" baseline="0" noProof="0">
              <a:ln>
                <a:noFill/>
              </a:ln>
              <a:solidFill>
                <a:prstClr val="white"/>
              </a:solidFill>
              <a:effectLst/>
              <a:uLnTx/>
              <a:uFillTx/>
              <a:latin typeface="Calibri"/>
              <a:ea typeface="+mn-ea"/>
              <a:cs typeface="+mn-cs"/>
            </a:endParaRPr>
          </a:p>
        </p:txBody>
      </p:sp>
      <p:sp>
        <p:nvSpPr>
          <p:cNvPr id="2" name="Freeform 12">
            <a:extLst>
              <a:ext uri="{FF2B5EF4-FFF2-40B4-BE49-F238E27FC236}">
                <a16:creationId xmlns:a16="http://schemas.microsoft.com/office/drawing/2014/main" id="{E12B3C18-E275-4C45-245E-CCD7B0A03A79}"/>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Text Placeholder 50">
            <a:extLst>
              <a:ext uri="{FF2B5EF4-FFF2-40B4-BE49-F238E27FC236}">
                <a16:creationId xmlns:a16="http://schemas.microsoft.com/office/drawing/2014/main" id="{AF3B697B-8F7E-8329-5C50-D80B21E07DE7}"/>
              </a:ext>
            </a:extLst>
          </p:cNvPr>
          <p:cNvSpPr>
            <a:spLocks noGrp="1"/>
          </p:cNvSpPr>
          <p:nvPr>
            <p:ph type="body" sz="quarter" idx="14"/>
          </p:nvPr>
        </p:nvSpPr>
        <p:spPr>
          <a:xfrm>
            <a:off x="0" y="-28369"/>
            <a:ext cx="12191999" cy="1496223"/>
          </a:xfrm>
        </p:spPr>
        <p:txBody>
          <a:bodyPr/>
          <a:lstStyle/>
          <a:p>
            <a:r>
              <a:rPr lang="en-US" dirty="0"/>
              <a:t>VAPT - DELIVERY METHODOLOGY</a:t>
            </a:r>
          </a:p>
        </p:txBody>
      </p:sp>
      <p:sp>
        <p:nvSpPr>
          <p:cNvPr id="14" name="Text Placeholder 17">
            <a:extLst>
              <a:ext uri="{FF2B5EF4-FFF2-40B4-BE49-F238E27FC236}">
                <a16:creationId xmlns:a16="http://schemas.microsoft.com/office/drawing/2014/main" id="{D77080A8-76D9-9B19-D870-348DCE0098A3}"/>
              </a:ext>
            </a:extLst>
          </p:cNvPr>
          <p:cNvSpPr txBox="1">
            <a:spLocks/>
          </p:cNvSpPr>
          <p:nvPr/>
        </p:nvSpPr>
        <p:spPr>
          <a:xfrm>
            <a:off x="599424" y="1881487"/>
            <a:ext cx="3029147" cy="23131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14" normalizeH="0" baseline="0" noProof="0">
                <a:ln>
                  <a:noFill/>
                </a:ln>
                <a:solidFill>
                  <a:srgbClr val="000000"/>
                </a:solidFill>
                <a:effectLst/>
                <a:uLnTx/>
                <a:uFillTx/>
                <a:latin typeface="Calibri"/>
                <a:ea typeface="+mn-ea"/>
                <a:cs typeface="Calibri"/>
              </a:rPr>
              <a:t>OWASP Assessment Phase</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14" normalizeH="0" baseline="0" noProof="0">
                <a:ln>
                  <a:noFill/>
                </a:ln>
                <a:solidFill>
                  <a:srgbClr val="000000"/>
                </a:solidFill>
                <a:effectLst/>
                <a:uLnTx/>
                <a:uFillTx/>
                <a:latin typeface="Calibri"/>
                <a:ea typeface="+mn-ea"/>
                <a:cs typeface="Calibri"/>
              </a:rPr>
              <a:t>Some of the tests that our consultants conduct to assess the security controls of your web application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14" normalizeH="0" baseline="0" noProof="0">
              <a:ln>
                <a:noFill/>
              </a:ln>
              <a:solidFill>
                <a:srgbClr val="000000"/>
              </a:solidFill>
              <a:effectLst/>
              <a:uLnTx/>
              <a:uFillTx/>
              <a:latin typeface="Calibri"/>
              <a:ea typeface="+mn-ea"/>
              <a:cs typeface="Calibri"/>
            </a:endParaRPr>
          </a:p>
        </p:txBody>
      </p:sp>
      <p:grpSp>
        <p:nvGrpSpPr>
          <p:cNvPr id="17" name="Group 16">
            <a:extLst>
              <a:ext uri="{FF2B5EF4-FFF2-40B4-BE49-F238E27FC236}">
                <a16:creationId xmlns:a16="http://schemas.microsoft.com/office/drawing/2014/main" id="{C1ACF773-AF6F-7AC2-7AE2-000CAE440B16}"/>
              </a:ext>
            </a:extLst>
          </p:cNvPr>
          <p:cNvGrpSpPr/>
          <p:nvPr/>
        </p:nvGrpSpPr>
        <p:grpSpPr>
          <a:xfrm>
            <a:off x="3773714" y="1881488"/>
            <a:ext cx="8191477" cy="4167942"/>
            <a:chOff x="535288" y="2819400"/>
            <a:chExt cx="8018208" cy="4167942"/>
          </a:xfrm>
        </p:grpSpPr>
        <p:sp>
          <p:nvSpPr>
            <p:cNvPr id="18" name="Hexagon 17">
              <a:extLst>
                <a:ext uri="{FF2B5EF4-FFF2-40B4-BE49-F238E27FC236}">
                  <a16:creationId xmlns:a16="http://schemas.microsoft.com/office/drawing/2014/main" id="{25DC0CEA-8719-E6AD-89A3-B62488CA69F9}"/>
                </a:ext>
              </a:extLst>
            </p:cNvPr>
            <p:cNvSpPr/>
            <p:nvPr/>
          </p:nvSpPr>
          <p:spPr>
            <a:xfrm>
              <a:off x="535288" y="4244102"/>
              <a:ext cx="1600200" cy="1379482"/>
            </a:xfrm>
            <a:prstGeom prst="hexagon">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Configuration Management Testing</a:t>
              </a:r>
            </a:p>
          </p:txBody>
        </p:sp>
        <p:sp>
          <p:nvSpPr>
            <p:cNvPr id="19" name="Hexagon 18">
              <a:extLst>
                <a:ext uri="{FF2B5EF4-FFF2-40B4-BE49-F238E27FC236}">
                  <a16:creationId xmlns:a16="http://schemas.microsoft.com/office/drawing/2014/main" id="{5C84A2AF-E679-6182-E578-CBED60CEBBC5}"/>
                </a:ext>
              </a:extLst>
            </p:cNvPr>
            <p:cNvSpPr/>
            <p:nvPr/>
          </p:nvSpPr>
          <p:spPr>
            <a:xfrm>
              <a:off x="1815940" y="4933843"/>
              <a:ext cx="1600200" cy="1379482"/>
            </a:xfrm>
            <a:prstGeom prst="hexagon">
              <a:avLst/>
            </a:prstGeom>
            <a:solidFill>
              <a:srgbClr val="F79646">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entication Testing</a:t>
              </a:r>
            </a:p>
          </p:txBody>
        </p:sp>
        <p:sp>
          <p:nvSpPr>
            <p:cNvPr id="20" name="Hexagon 19">
              <a:extLst>
                <a:ext uri="{FF2B5EF4-FFF2-40B4-BE49-F238E27FC236}">
                  <a16:creationId xmlns:a16="http://schemas.microsoft.com/office/drawing/2014/main" id="{5FDDFB96-6825-A4C6-27CD-C30ECC917217}"/>
                </a:ext>
              </a:extLst>
            </p:cNvPr>
            <p:cNvSpPr/>
            <p:nvPr/>
          </p:nvSpPr>
          <p:spPr>
            <a:xfrm>
              <a:off x="1815940" y="3514057"/>
              <a:ext cx="1600200" cy="1379482"/>
            </a:xfrm>
            <a:prstGeom prst="hexagon">
              <a:avLst/>
            </a:prstGeom>
            <a:solidFill>
              <a:srgbClr val="9BBB59">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Session Management Testing</a:t>
              </a:r>
            </a:p>
          </p:txBody>
        </p:sp>
        <p:sp>
          <p:nvSpPr>
            <p:cNvPr id="21" name="Hexagon 20">
              <a:extLst>
                <a:ext uri="{FF2B5EF4-FFF2-40B4-BE49-F238E27FC236}">
                  <a16:creationId xmlns:a16="http://schemas.microsoft.com/office/drawing/2014/main" id="{6773EE68-7E2C-3E7D-609D-2AD8E8BAF2CF}"/>
                </a:ext>
              </a:extLst>
            </p:cNvPr>
            <p:cNvSpPr/>
            <p:nvPr/>
          </p:nvSpPr>
          <p:spPr>
            <a:xfrm>
              <a:off x="3111340" y="4203798"/>
              <a:ext cx="1600200" cy="1379482"/>
            </a:xfrm>
            <a:prstGeom prst="hexagon">
              <a:avLst/>
            </a:prstGeom>
            <a:solidFill>
              <a:srgbClr val="C0504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uthorization Testing</a:t>
              </a:r>
            </a:p>
          </p:txBody>
        </p:sp>
        <p:sp>
          <p:nvSpPr>
            <p:cNvPr id="22" name="Hexagon 21">
              <a:extLst>
                <a:ext uri="{FF2B5EF4-FFF2-40B4-BE49-F238E27FC236}">
                  <a16:creationId xmlns:a16="http://schemas.microsoft.com/office/drawing/2014/main" id="{67993E31-AF5E-E34E-98F9-C36EC1BB8E97}"/>
                </a:ext>
              </a:extLst>
            </p:cNvPr>
            <p:cNvSpPr/>
            <p:nvPr/>
          </p:nvSpPr>
          <p:spPr>
            <a:xfrm>
              <a:off x="535288" y="2819400"/>
              <a:ext cx="1600200" cy="1379482"/>
            </a:xfrm>
            <a:prstGeom prst="hexagon">
              <a:avLst/>
            </a:prstGeom>
            <a:solidFill>
              <a:srgbClr val="C0504D">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Business Logic Testing</a:t>
              </a:r>
            </a:p>
          </p:txBody>
        </p:sp>
        <p:sp>
          <p:nvSpPr>
            <p:cNvPr id="23" name="Hexagon 22">
              <a:extLst>
                <a:ext uri="{FF2B5EF4-FFF2-40B4-BE49-F238E27FC236}">
                  <a16:creationId xmlns:a16="http://schemas.microsoft.com/office/drawing/2014/main" id="{4B6916A9-BBC1-837E-1C7D-EF49724DC8B8}"/>
                </a:ext>
              </a:extLst>
            </p:cNvPr>
            <p:cNvSpPr/>
            <p:nvPr/>
          </p:nvSpPr>
          <p:spPr>
            <a:xfrm>
              <a:off x="4391992" y="4893539"/>
              <a:ext cx="1600200" cy="1379482"/>
            </a:xfrm>
            <a:prstGeom prst="hexagon">
              <a:avLst/>
            </a:prstGeom>
            <a:solidFill>
              <a:srgbClr val="4BACC6">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ata Validation Testing</a:t>
              </a:r>
            </a:p>
          </p:txBody>
        </p:sp>
        <p:sp>
          <p:nvSpPr>
            <p:cNvPr id="24" name="Hexagon 23">
              <a:extLst>
                <a:ext uri="{FF2B5EF4-FFF2-40B4-BE49-F238E27FC236}">
                  <a16:creationId xmlns:a16="http://schemas.microsoft.com/office/drawing/2014/main" id="{211DA6DA-2F89-E341-4ED8-407D29EF5D16}"/>
                </a:ext>
              </a:extLst>
            </p:cNvPr>
            <p:cNvSpPr/>
            <p:nvPr/>
          </p:nvSpPr>
          <p:spPr>
            <a:xfrm>
              <a:off x="5672644" y="4196424"/>
              <a:ext cx="1600200" cy="1379482"/>
            </a:xfrm>
            <a:prstGeom prst="hexagon">
              <a:avLst/>
            </a:prstGeom>
            <a:solidFill>
              <a:srgbClr val="9BBB59">
                <a:lumMod val="5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DD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If Approved)</a:t>
              </a:r>
            </a:p>
          </p:txBody>
        </p:sp>
        <p:sp>
          <p:nvSpPr>
            <p:cNvPr id="25" name="Hexagon 24">
              <a:extLst>
                <a:ext uri="{FF2B5EF4-FFF2-40B4-BE49-F238E27FC236}">
                  <a16:creationId xmlns:a16="http://schemas.microsoft.com/office/drawing/2014/main" id="{36F556B8-7947-A82E-D883-3AAB02084916}"/>
                </a:ext>
              </a:extLst>
            </p:cNvPr>
            <p:cNvSpPr/>
            <p:nvPr/>
          </p:nvSpPr>
          <p:spPr>
            <a:xfrm>
              <a:off x="5672644" y="5607860"/>
              <a:ext cx="1600200" cy="1379482"/>
            </a:xfrm>
            <a:prstGeom prst="hexagon">
              <a:avLst/>
            </a:prstGeom>
            <a:solidFill>
              <a:srgbClr val="A97D5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Web Services Testing</a:t>
              </a:r>
            </a:p>
          </p:txBody>
        </p:sp>
        <p:sp>
          <p:nvSpPr>
            <p:cNvPr id="26" name="Hexagon 25">
              <a:extLst>
                <a:ext uri="{FF2B5EF4-FFF2-40B4-BE49-F238E27FC236}">
                  <a16:creationId xmlns:a16="http://schemas.microsoft.com/office/drawing/2014/main" id="{D6EED324-96D1-46EA-49CC-199B212533D6}"/>
                </a:ext>
              </a:extLst>
            </p:cNvPr>
            <p:cNvSpPr/>
            <p:nvPr/>
          </p:nvSpPr>
          <p:spPr>
            <a:xfrm>
              <a:off x="6953296" y="4893539"/>
              <a:ext cx="1600200" cy="1379482"/>
            </a:xfrm>
            <a:prstGeom prst="hexagon">
              <a:avLst/>
            </a:prstGeom>
            <a:solidFill>
              <a:srgbClr val="C05B08"/>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mn-ea"/>
                  <a:cs typeface="+mn-cs"/>
                </a:rPr>
                <a:t>Ajax Testing</a:t>
              </a:r>
            </a:p>
          </p:txBody>
        </p:sp>
      </p:grpSp>
    </p:spTree>
    <p:extLst>
      <p:ext uri="{BB962C8B-B14F-4D97-AF65-F5344CB8AC3E}">
        <p14:creationId xmlns:p14="http://schemas.microsoft.com/office/powerpoint/2010/main" val="36399973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n on a piece of paper&#10;&#10;Description automatically generated with medium confidence">
            <a:extLst>
              <a:ext uri="{FF2B5EF4-FFF2-40B4-BE49-F238E27FC236}">
                <a16:creationId xmlns:a16="http://schemas.microsoft.com/office/drawing/2014/main" id="{F8B0298E-D1F6-D21F-B860-10078BC64D88}"/>
              </a:ext>
            </a:extLst>
          </p:cNvPr>
          <p:cNvPicPr>
            <a:picLocks noGrp="1" noChangeAspect="1"/>
          </p:cNvPicPr>
          <p:nvPr>
            <p:ph type="pic" sz="quarter" idx="10"/>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pic>
        <p:nvPicPr>
          <p:cNvPr id="8" name="Picture Placeholder 7" descr="A pen on a piece of paper&#10;&#10;Description automatically generated with medium confidence">
            <a:extLst>
              <a:ext uri="{FF2B5EF4-FFF2-40B4-BE49-F238E27FC236}">
                <a16:creationId xmlns:a16="http://schemas.microsoft.com/office/drawing/2014/main" id="{E834C598-053B-033F-F34B-D21348C7BC01}"/>
              </a:ext>
            </a:extLst>
          </p:cNvPr>
          <p:cNvPicPr>
            <a:picLocks noGrp="1" noChangeAspect="1"/>
          </p:cNvPicPr>
          <p:nvPr>
            <p:ph type="pic" sz="quarter" idx="11"/>
          </p:nvPr>
        </p:nvPicPr>
        <p:blipFill>
          <a:blip r:embed="rId3"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a:xfrm>
            <a:off x="7716701" y="1097296"/>
            <a:ext cx="3881438" cy="3881437"/>
          </a:xfrm>
        </p:spPr>
      </p:pic>
      <p:sp>
        <p:nvSpPr>
          <p:cNvPr id="4" name="Text Placeholder 3">
            <a:extLst>
              <a:ext uri="{FF2B5EF4-FFF2-40B4-BE49-F238E27FC236}">
                <a16:creationId xmlns:a16="http://schemas.microsoft.com/office/drawing/2014/main" id="{9E919B64-DE3F-B4C2-1B8A-EB4432EF3149}"/>
              </a:ext>
            </a:extLst>
          </p:cNvPr>
          <p:cNvSpPr>
            <a:spLocks noGrp="1"/>
          </p:cNvSpPr>
          <p:nvPr>
            <p:ph type="body" sz="quarter" idx="12"/>
          </p:nvPr>
        </p:nvSpPr>
        <p:spPr/>
        <p:txBody>
          <a:bodyPr/>
          <a:lstStyle/>
          <a:p>
            <a:r>
              <a:rPr lang="en-US"/>
              <a:t>PROJECT DELIVERABLES</a:t>
            </a:r>
            <a:endParaRPr lang="en-GB"/>
          </a:p>
        </p:txBody>
      </p:sp>
    </p:spTree>
    <p:extLst>
      <p:ext uri="{BB962C8B-B14F-4D97-AF65-F5344CB8AC3E}">
        <p14:creationId xmlns:p14="http://schemas.microsoft.com/office/powerpoint/2010/main" val="1768364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4AC3ED27-2406-7116-8E95-E0EFF783DD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5919"/>
            <a:ext cx="12192000" cy="1564407"/>
          </a:xfrm>
          <a:prstGeom prst="rect">
            <a:avLst/>
          </a:prstGeom>
          <a:no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48127"/>
            <a:ext cx="12192000" cy="1419727"/>
          </a:xfrm>
        </p:spPr>
        <p:txBody>
          <a:bodyPr>
            <a:normAutofit/>
          </a:bodyPr>
          <a:lstStyle/>
          <a:p>
            <a:r>
              <a:rPr lang="en-US" sz="3600" dirty="0"/>
              <a:t>PROJECT DELIVERABLES</a:t>
            </a:r>
            <a:endParaRPr lang="en-GB" sz="3600" dirty="0"/>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E056BF1F-93B3-1A4D-FAE0-570AC02851B2}"/>
              </a:ext>
            </a:extLst>
          </p:cNvPr>
          <p:cNvGraphicFramePr>
            <a:graphicFrameLocks noGrp="1"/>
          </p:cNvGraphicFramePr>
          <p:nvPr>
            <p:extLst>
              <p:ext uri="{D42A27DB-BD31-4B8C-83A1-F6EECF244321}">
                <p14:modId xmlns:p14="http://schemas.microsoft.com/office/powerpoint/2010/main" val="59706374"/>
              </p:ext>
            </p:extLst>
          </p:nvPr>
        </p:nvGraphicFramePr>
        <p:xfrm>
          <a:off x="338838" y="1740658"/>
          <a:ext cx="11514324" cy="1017532"/>
        </p:xfrm>
        <a:graphic>
          <a:graphicData uri="http://schemas.openxmlformats.org/drawingml/2006/table">
            <a:tbl>
              <a:tblPr firstRow="1" bandRow="1"/>
              <a:tblGrid>
                <a:gridCol w="2322547">
                  <a:extLst>
                    <a:ext uri="{9D8B030D-6E8A-4147-A177-3AD203B41FA5}">
                      <a16:colId xmlns:a16="http://schemas.microsoft.com/office/drawing/2014/main" val="20000"/>
                    </a:ext>
                  </a:extLst>
                </a:gridCol>
                <a:gridCol w="4325703">
                  <a:extLst>
                    <a:ext uri="{9D8B030D-6E8A-4147-A177-3AD203B41FA5}">
                      <a16:colId xmlns:a16="http://schemas.microsoft.com/office/drawing/2014/main" val="1408784207"/>
                    </a:ext>
                  </a:extLst>
                </a:gridCol>
                <a:gridCol w="4866074">
                  <a:extLst>
                    <a:ext uri="{9D8B030D-6E8A-4147-A177-3AD203B41FA5}">
                      <a16:colId xmlns:a16="http://schemas.microsoft.com/office/drawing/2014/main" val="625646531"/>
                    </a:ext>
                  </a:extLst>
                </a:gridCol>
              </a:tblGrid>
              <a:tr h="4114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solidFill>
                            <a:srgbClr val="CCB76A"/>
                          </a:solidFill>
                        </a:rPr>
                        <a:t>Pro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p>
                      <a:pPr algn="l"/>
                      <a:r>
                        <a:rPr lang="en-US" sz="1800" b="1" dirty="0">
                          <a:solidFill>
                            <a:srgbClr val="CCB76A"/>
                          </a:solidFill>
                        </a:rPr>
                        <a:t>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0000"/>
                  </a:ext>
                </a:extLst>
              </a:tr>
              <a:tr h="60608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effectLst/>
                          <a:latin typeface="+mn-lt"/>
                          <a:ea typeface="+mn-ea"/>
                          <a:cs typeface="+mn-cs"/>
                        </a:rPr>
                        <a:t>PT Testing</a:t>
                      </a:r>
                    </a:p>
                  </a:txBody>
                  <a:tcPr anchor="ctr">
                    <a:lnT w="12700" cap="flat" cmpd="sng" algn="ctr">
                      <a:solidFill>
                        <a:schemeClr val="tx1"/>
                      </a:solidFill>
                      <a:prstDash val="solid"/>
                      <a:round/>
                      <a:headEnd type="none" w="med" len="med"/>
                      <a:tailEnd type="none" w="med" len="med"/>
                    </a:lnT>
                    <a:solidFill>
                      <a:schemeClr val="tx1">
                        <a:lumMod val="75000"/>
                        <a:lumOff val="25000"/>
                      </a:schemeClr>
                    </a:solidFill>
                  </a:tcPr>
                </a:tc>
                <a:tc>
                  <a:txBody>
                    <a:bodyPr/>
                    <a:lstStyle/>
                    <a:p/>
                    <a:p>
                      <a:pPr>
                        <a:spcBef>
                          <a:spcPts val="0"/>
                        </a:spcBef>
                        <a:spcAft>
                          <a:spcPts val="0"/>
                        </a:spcAft>
                      </a:pPr>
                      <a:r>
                        <a:t>1. Dummy Activity 1</a:t>
                      </a:r>
                    </a:p>
                    <a:p>
                      <a:pPr>
                        <a:spcBef>
                          <a:spcPts val="0"/>
                        </a:spcBef>
                        <a:spcAft>
                          <a:spcPts val="0"/>
                        </a:spcAft>
                      </a:pPr>
                      <a:r>
                        <a:t>2. Dummy Activity 2</a:t>
                      </a:r>
                    </a:p>
                    <a:p>
                      <a:pPr>
                        <a:spcBef>
                          <a:spcPts val="0"/>
                        </a:spcBef>
                        <a:spcAft>
                          <a:spcPts val="0"/>
                        </a:spcAft>
                      </a:pPr>
                      <a:r>
                        <a:t>3. Dummy Activity 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
                      <a:pPr>
                        <a:spcBef>
                          <a:spcPts val="0"/>
                        </a:spcBef>
                        <a:spcAft>
                          <a:spcPts val="0"/>
                        </a:spcAft>
                      </a:pPr>
                      <a:r>
                        <a:t>1. Dummy Deliverable 1</a:t>
                      </a:r>
                    </a:p>
                    <a:p>
                      <a:pPr>
                        <a:spcBef>
                          <a:spcPts val="0"/>
                        </a:spcBef>
                        <a:spcAft>
                          <a:spcPts val="0"/>
                        </a:spcAft>
                      </a:pPr>
                      <a:r>
                        <a:t>2. Dummy Deliverable 2</a:t>
                      </a:r>
                    </a:p>
                    <a:p>
                      <a:pPr>
                        <a:spcBef>
                          <a:spcPts val="0"/>
                        </a:spcBef>
                        <a:spcAft>
                          <a:spcPts val="0"/>
                        </a:spcAft>
                      </a:pPr>
                      <a:r>
                        <a:t>3. Dummy Deliverable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97047763"/>
                  </a:ext>
                </a:extLst>
              </a:tr>
            </a:tbl>
          </a:graphicData>
        </a:graphic>
      </p:graphicFrame>
    </p:spTree>
    <p:extLst>
      <p:ext uri="{BB962C8B-B14F-4D97-AF65-F5344CB8AC3E}">
        <p14:creationId xmlns:p14="http://schemas.microsoft.com/office/powerpoint/2010/main" val="3185193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a:xfrm>
            <a:off x="344631" y="5430983"/>
            <a:ext cx="5418859" cy="748144"/>
          </a:xfrm>
        </p:spPr>
        <p:txBody>
          <a:bodyPr>
            <a:normAutofit/>
          </a:bodyPr>
          <a:lstStyle/>
          <a:p>
            <a:r>
              <a:rPr lang="en-US"/>
              <a:t>PROJECT TIMELINE</a:t>
            </a:r>
            <a:endParaRPr lang="en-GB"/>
          </a:p>
        </p:txBody>
      </p:sp>
      <p:pic>
        <p:nvPicPr>
          <p:cNvPr id="12" name="Picture Placeholder 11" descr="Diagram&#10;&#10;Description automatically generated with low confidence">
            <a:extLst>
              <a:ext uri="{FF2B5EF4-FFF2-40B4-BE49-F238E27FC236}">
                <a16:creationId xmlns:a16="http://schemas.microsoft.com/office/drawing/2014/main" id="{FA3ABADE-48B0-1839-47D4-426F75DB1FFF}"/>
              </a:ext>
            </a:extLst>
          </p:cNvPr>
          <p:cNvPicPr>
            <a:picLocks noGrp="1" noChangeAspect="1"/>
          </p:cNvPicPr>
          <p:nvPr>
            <p:ph type="pic" sz="quarter" idx="10"/>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p:pic>
      <p:pic>
        <p:nvPicPr>
          <p:cNvPr id="7" name="Picture Placeholder 6" descr="Diagram&#10;&#10;Description automatically generated with low confidence">
            <a:extLst>
              <a:ext uri="{FF2B5EF4-FFF2-40B4-BE49-F238E27FC236}">
                <a16:creationId xmlns:a16="http://schemas.microsoft.com/office/drawing/2014/main" id="{B37E4E00-648F-AB8A-38F4-3AC99F4A41A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a:stretch/>
        </p:blipFill>
        <p:spPr>
          <a:xfrm>
            <a:off x="7716766" y="1097361"/>
            <a:ext cx="3881308" cy="3881308"/>
          </a:xfrm>
        </p:spPr>
      </p:pic>
    </p:spTree>
    <p:extLst>
      <p:ext uri="{BB962C8B-B14F-4D97-AF65-F5344CB8AC3E}">
        <p14:creationId xmlns:p14="http://schemas.microsoft.com/office/powerpoint/2010/main" val="30817513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17">
            <a:extLst>
              <a:ext uri="{FF2B5EF4-FFF2-40B4-BE49-F238E27FC236}">
                <a16:creationId xmlns:a16="http://schemas.microsoft.com/office/drawing/2014/main" id="{807A49EC-B223-7062-7CDD-6BADC861CB0C}"/>
              </a:ext>
            </a:extLst>
          </p:cNvPr>
          <p:cNvGraphicFramePr>
            <a:graphicFrameLocks noGrp="1"/>
          </p:cNvGraphicFramePr>
          <p:nvPr>
            <p:extLst>
              <p:ext uri="{D42A27DB-BD31-4B8C-83A1-F6EECF244321}">
                <p14:modId xmlns:p14="http://schemas.microsoft.com/office/powerpoint/2010/main" val="2509252086"/>
              </p:ext>
            </p:extLst>
          </p:nvPr>
        </p:nvGraphicFramePr>
        <p:xfrm>
          <a:off x="433089" y="2051986"/>
          <a:ext cx="11198931" cy="785625"/>
        </p:xfrm>
        <a:graphic>
          <a:graphicData uri="http://schemas.openxmlformats.org/drawingml/2006/table">
            <a:tbl>
              <a:tblPr firstRow="1" bandRow="1">
                <a:tableStyleId>{073A0DAA-6AF3-43AB-8588-CEC1D06C72B9}</a:tableStyleId>
              </a:tblPr>
              <a:tblGrid>
                <a:gridCol w="746595">
                  <a:extLst>
                    <a:ext uri="{9D8B030D-6E8A-4147-A177-3AD203B41FA5}">
                      <a16:colId xmlns:a16="http://schemas.microsoft.com/office/drawing/2014/main" val="1290241882"/>
                    </a:ext>
                  </a:extLst>
                </a:gridCol>
                <a:gridCol w="746595">
                  <a:extLst>
                    <a:ext uri="{9D8B030D-6E8A-4147-A177-3AD203B41FA5}">
                      <a16:colId xmlns:a16="http://schemas.microsoft.com/office/drawing/2014/main" val="283493698"/>
                    </a:ext>
                  </a:extLst>
                </a:gridCol>
                <a:gridCol w="746597">
                  <a:extLst>
                    <a:ext uri="{9D8B030D-6E8A-4147-A177-3AD203B41FA5}">
                      <a16:colId xmlns:a16="http://schemas.microsoft.com/office/drawing/2014/main" val="1668329213"/>
                    </a:ext>
                  </a:extLst>
                </a:gridCol>
                <a:gridCol w="746595">
                  <a:extLst>
                    <a:ext uri="{9D8B030D-6E8A-4147-A177-3AD203B41FA5}">
                      <a16:colId xmlns:a16="http://schemas.microsoft.com/office/drawing/2014/main" val="2224798649"/>
                    </a:ext>
                  </a:extLst>
                </a:gridCol>
                <a:gridCol w="746595">
                  <a:extLst>
                    <a:ext uri="{9D8B030D-6E8A-4147-A177-3AD203B41FA5}">
                      <a16:colId xmlns:a16="http://schemas.microsoft.com/office/drawing/2014/main" val="1802148920"/>
                    </a:ext>
                  </a:extLst>
                </a:gridCol>
                <a:gridCol w="746595">
                  <a:extLst>
                    <a:ext uri="{9D8B030D-6E8A-4147-A177-3AD203B41FA5}">
                      <a16:colId xmlns:a16="http://schemas.microsoft.com/office/drawing/2014/main" val="2364839195"/>
                    </a:ext>
                  </a:extLst>
                </a:gridCol>
                <a:gridCol w="746595">
                  <a:extLst>
                    <a:ext uri="{9D8B030D-6E8A-4147-A177-3AD203B41FA5}">
                      <a16:colId xmlns:a16="http://schemas.microsoft.com/office/drawing/2014/main" val="489962519"/>
                    </a:ext>
                  </a:extLst>
                </a:gridCol>
                <a:gridCol w="746597">
                  <a:extLst>
                    <a:ext uri="{9D8B030D-6E8A-4147-A177-3AD203B41FA5}">
                      <a16:colId xmlns:a16="http://schemas.microsoft.com/office/drawing/2014/main" val="952683092"/>
                    </a:ext>
                  </a:extLst>
                </a:gridCol>
                <a:gridCol w="746595">
                  <a:extLst>
                    <a:ext uri="{9D8B030D-6E8A-4147-A177-3AD203B41FA5}">
                      <a16:colId xmlns:a16="http://schemas.microsoft.com/office/drawing/2014/main" val="1423511475"/>
                    </a:ext>
                  </a:extLst>
                </a:gridCol>
                <a:gridCol w="746595">
                  <a:extLst>
                    <a:ext uri="{9D8B030D-6E8A-4147-A177-3AD203B41FA5}">
                      <a16:colId xmlns:a16="http://schemas.microsoft.com/office/drawing/2014/main" val="2008152649"/>
                    </a:ext>
                  </a:extLst>
                </a:gridCol>
                <a:gridCol w="746595">
                  <a:extLst>
                    <a:ext uri="{9D8B030D-6E8A-4147-A177-3AD203B41FA5}">
                      <a16:colId xmlns:a16="http://schemas.microsoft.com/office/drawing/2014/main" val="4261444740"/>
                    </a:ext>
                  </a:extLst>
                </a:gridCol>
                <a:gridCol w="746595">
                  <a:extLst>
                    <a:ext uri="{9D8B030D-6E8A-4147-A177-3AD203B41FA5}">
                      <a16:colId xmlns:a16="http://schemas.microsoft.com/office/drawing/2014/main" val="172221575"/>
                    </a:ext>
                  </a:extLst>
                </a:gridCol>
                <a:gridCol w="746597">
                  <a:extLst>
                    <a:ext uri="{9D8B030D-6E8A-4147-A177-3AD203B41FA5}">
                      <a16:colId xmlns:a16="http://schemas.microsoft.com/office/drawing/2014/main" val="1619546975"/>
                    </a:ext>
                  </a:extLst>
                </a:gridCol>
                <a:gridCol w="746595">
                  <a:extLst>
                    <a:ext uri="{9D8B030D-6E8A-4147-A177-3AD203B41FA5}">
                      <a16:colId xmlns:a16="http://schemas.microsoft.com/office/drawing/2014/main" val="2906561931"/>
                    </a:ext>
                  </a:extLst>
                </a:gridCol>
                <a:gridCol w="746595">
                  <a:extLst>
                    <a:ext uri="{9D8B030D-6E8A-4147-A177-3AD203B41FA5}">
                      <a16:colId xmlns:a16="http://schemas.microsoft.com/office/drawing/2014/main" val="654522535"/>
                    </a:ext>
                  </a:extLst>
                </a:gridCol>
              </a:tblGrid>
              <a:tr h="310410">
                <a:tc gridSpan="15">
                  <a:txBody>
                    <a:bodyPr/>
                    <a:lstStyle/>
                    <a:p>
                      <a:pPr algn="ctr"/>
                      <a:r>
                        <a:rPr lang="en-US" sz="1600" dirty="0">
                          <a:solidFill>
                            <a:schemeClr val="bg1"/>
                          </a:solidFill>
                          <a:latin typeface="Calibri" panose="020F0502020204030204" pitchFamily="34" charset="0"/>
                          <a:cs typeface="Calibri" panose="020F0502020204030204" pitchFamily="34" charset="0"/>
                        </a:rPr>
                        <a:t>Weekly Breakdown of High-Level Project Phases</a:t>
                      </a:r>
                      <a:endParaRPr lang="en-GB" sz="16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60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12652788"/>
                  </a:ext>
                </a:extLst>
              </a:tr>
              <a:tr h="310410">
                <a:tc gridSpan="5">
                  <a:txBody>
                    <a:bodyPr/>
                    <a:lstStyle/>
                    <a:p>
                      <a:pPr algn="ctr"/>
                      <a:r>
                        <a:rPr lang="en-US" sz="1400" dirty="0">
                          <a:latin typeface="Calibri" panose="020F0502020204030204" pitchFamily="34" charset="0"/>
                          <a:cs typeface="Calibri" panose="020F0502020204030204" pitchFamily="34" charset="0"/>
                        </a:rPr>
                        <a:t>W1</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2</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5">
                  <a:txBody>
                    <a:bodyPr/>
                    <a:lstStyle/>
                    <a:p>
                      <a:pPr algn="ctr"/>
                      <a:r>
                        <a:rPr lang="en-US" sz="1400" dirty="0">
                          <a:latin typeface="Calibri" panose="020F0502020204030204" pitchFamily="34" charset="0"/>
                          <a:cs typeface="Calibri" panose="020F0502020204030204" pitchFamily="34" charset="0"/>
                        </a:rPr>
                        <a:t>W3</a:t>
                      </a:r>
                      <a:endParaRPr lang="en-GB" sz="1400"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8881864"/>
                  </a:ext>
                </a:extLst>
              </a:tr>
              <a:tr h="139935">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800" dirty="0">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7637782"/>
                  </a:ext>
                </a:extLst>
              </a:tr>
            </a:tbl>
          </a:graphicData>
        </a:graphic>
      </p:graphicFrame>
      <p:pic>
        <p:nvPicPr>
          <p:cNvPr id="7" name="Picture 6" descr="Text&#10;&#10;Description automatically generated with medium confidence">
            <a:extLst>
              <a:ext uri="{FF2B5EF4-FFF2-40B4-BE49-F238E27FC236}">
                <a16:creationId xmlns:a16="http://schemas.microsoft.com/office/drawing/2014/main" id="{66758A00-A127-5A04-2090-D40BECEFA6B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4164"/>
            <a:ext cx="12192000" cy="1479908"/>
          </a:xfrm>
          <a:prstGeom prst="rect">
            <a:avLst/>
          </a:prstGeom>
        </p:spPr>
      </p:pic>
      <p:sp>
        <p:nvSpPr>
          <p:cNvPr id="11" name="Title 1">
            <a:extLst>
              <a:ext uri="{FF2B5EF4-FFF2-40B4-BE49-F238E27FC236}">
                <a16:creationId xmlns:a16="http://schemas.microsoft.com/office/drawing/2014/main" id="{DC48ABD5-0559-7ADA-D98B-A07C8A2228CD}"/>
              </a:ext>
            </a:extLst>
          </p:cNvPr>
          <p:cNvSpPr txBox="1">
            <a:spLocks/>
          </p:cNvSpPr>
          <p:nvPr/>
        </p:nvSpPr>
        <p:spPr>
          <a:xfrm>
            <a:off x="0" y="-4164"/>
            <a:ext cx="12192000" cy="1487740"/>
          </a:xfrm>
          <a:prstGeom prst="rect">
            <a:avLst/>
          </a:prstGeom>
          <a:solidFill>
            <a:schemeClr val="tx1">
              <a:alpha val="65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PROJECT TIMELINE</a:t>
            </a:r>
            <a:endPar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002A78F5-96E6-03C6-2F89-7B30A9936DBB}"/>
              </a:ext>
            </a:extLst>
          </p:cNvPr>
          <p:cNvSpPr txBox="1"/>
          <p:nvPr/>
        </p:nvSpPr>
        <p:spPr>
          <a:xfrm>
            <a:off x="347229" y="1575726"/>
            <a:ext cx="9098067" cy="3921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Calibri"/>
                <a:cs typeface="Calibri"/>
              </a:rPr>
              <a:t>Estimated duration: 3 Calendar Weeks </a:t>
            </a:r>
            <a:r>
              <a:rPr kumimoji="0" lang="en-US" sz="1200" b="0" i="0" u="none" strike="noStrike" kern="1200" cap="none" spc="0" normalizeH="0" baseline="0" noProof="0" dirty="0">
                <a:ln>
                  <a:noFill/>
                </a:ln>
                <a:solidFill>
                  <a:prstClr val="black"/>
                </a:solidFill>
                <a:effectLst/>
                <a:uLnTx/>
                <a:uFillTx/>
                <a:latin typeface="Calibri"/>
                <a:ea typeface="Calibri"/>
                <a:cs typeface="Calibri"/>
              </a:rPr>
              <a:t>(May vary depending upon the Client’s response)</a:t>
            </a:r>
            <a:endParaRPr kumimoji="0" lang="en-GB" sz="16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85" name="TextBox 84">
            <a:extLst>
              <a:ext uri="{FF2B5EF4-FFF2-40B4-BE49-F238E27FC236}">
                <a16:creationId xmlns:a16="http://schemas.microsoft.com/office/drawing/2014/main" id="{26C6672A-C999-8098-E399-2FD58A904E61}"/>
              </a:ext>
            </a:extLst>
          </p:cNvPr>
          <p:cNvSpPr txBox="1"/>
          <p:nvPr/>
        </p:nvSpPr>
        <p:spPr>
          <a:xfrm>
            <a:off x="512090" y="5706177"/>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rPr>
              <a:t>PT Team</a:t>
            </a: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Progress">
            <a:extLst>
              <a:ext uri="{FF2B5EF4-FFF2-40B4-BE49-F238E27FC236}">
                <a16:creationId xmlns:a16="http://schemas.microsoft.com/office/drawing/2014/main" id="{7D79290A-3227-26D2-B943-65AAEA6DEA0F}"/>
              </a:ext>
            </a:extLst>
          </p:cNvPr>
          <p:cNvSpPr/>
          <p:nvPr/>
        </p:nvSpPr>
        <p:spPr>
          <a:xfrm>
            <a:off x="357773" y="5778081"/>
            <a:ext cx="182880" cy="91440"/>
          </a:xfrm>
          <a:prstGeom prst="roundRect">
            <a:avLst>
              <a:gd name="adj" fmla="val 0"/>
            </a:avLst>
          </a:prstGeom>
          <a:solidFill>
            <a:srgbClr val="0080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81658FA-374A-49FE-41DA-F8381B9C6E37}"/>
              </a:ext>
            </a:extLst>
          </p:cNvPr>
          <p:cNvSpPr/>
          <p:nvPr/>
        </p:nvSpPr>
        <p:spPr>
          <a:xfrm>
            <a:off x="433090" y="3003112"/>
            <a:ext cx="7488166" cy="785625"/>
          </a:xfrm>
          <a:prstGeom prst="rect">
            <a:avLst/>
          </a:prstGeom>
          <a:solidFill>
            <a:srgbClr val="00803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mn-ea"/>
                <a:cs typeface="+mn-cs"/>
              </a:rPr>
              <a:t>PT</a:t>
            </a:r>
            <a:endParaRPr kumimoji="0" lang="en-GB" sz="1400" b="1" i="0" u="none" strike="noStrike" kern="1200" cap="none" spc="0" normalizeH="0" baseline="0" noProof="0" dirty="0">
              <a:ln>
                <a:noFill/>
              </a:ln>
              <a:solidFill>
                <a:prstClr val="white"/>
              </a:solidFill>
              <a:effectLst/>
              <a:uLnTx/>
              <a:uFillTx/>
              <a:latin typeface="Calibri"/>
              <a:ea typeface="Calibri"/>
              <a:cs typeface="Calibri"/>
            </a:endParaRPr>
          </a:p>
        </p:txBody>
      </p:sp>
      <p:sp>
        <p:nvSpPr>
          <p:cNvPr id="4" name="Rectangle 3">
            <a:extLst>
              <a:ext uri="{FF2B5EF4-FFF2-40B4-BE49-F238E27FC236}">
                <a16:creationId xmlns:a16="http://schemas.microsoft.com/office/drawing/2014/main" id="{EB6A93C3-CAD2-2D29-82C8-9AFDA6D58608}"/>
              </a:ext>
            </a:extLst>
          </p:cNvPr>
          <p:cNvSpPr/>
          <p:nvPr/>
        </p:nvSpPr>
        <p:spPr>
          <a:xfrm>
            <a:off x="7921256" y="3002005"/>
            <a:ext cx="3710764" cy="786732"/>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a:ea typeface="Calibri"/>
                <a:cs typeface="Calibri"/>
              </a:rPr>
              <a:t>PT Reporting</a:t>
            </a:r>
          </a:p>
        </p:txBody>
      </p:sp>
      <p:sp>
        <p:nvSpPr>
          <p:cNvPr id="6" name="Progress">
            <a:extLst>
              <a:ext uri="{FF2B5EF4-FFF2-40B4-BE49-F238E27FC236}">
                <a16:creationId xmlns:a16="http://schemas.microsoft.com/office/drawing/2014/main" id="{7A733F89-E9D4-9B2F-3391-E09FD864622F}"/>
              </a:ext>
            </a:extLst>
          </p:cNvPr>
          <p:cNvSpPr/>
          <p:nvPr/>
        </p:nvSpPr>
        <p:spPr>
          <a:xfrm>
            <a:off x="357772" y="5590189"/>
            <a:ext cx="182880" cy="9144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05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5ACD621-8FC7-F1A8-FB13-43059DED1553}"/>
              </a:ext>
            </a:extLst>
          </p:cNvPr>
          <p:cNvSpPr txBox="1"/>
          <p:nvPr/>
        </p:nvSpPr>
        <p:spPr>
          <a:xfrm>
            <a:off x="512090" y="5518285"/>
            <a:ext cx="1393738" cy="2308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rPr>
              <a:t>Reporting</a:t>
            </a:r>
          </a:p>
        </p:txBody>
      </p:sp>
      <p:sp>
        <p:nvSpPr>
          <p:cNvPr id="87" name="Rectangle 86"/>
          <p:cNvSpPr/>
          <p:nvPr/>
        </p:nvSpPr>
        <p:spPr>
          <a:xfrm>
            <a:off x="432000" y="2879999"/>
            <a:ext cx="72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1</a:t>
            </a:r>
          </a:p>
        </p:txBody>
      </p:sp>
      <p:sp>
        <p:nvSpPr>
          <p:cNvPr id="88" name="Rectangle 87"/>
          <p:cNvSpPr/>
          <p:nvPr/>
        </p:nvSpPr>
        <p:spPr>
          <a:xfrm>
            <a:off x="7631999" y="2879999"/>
            <a:ext cx="144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2</a:t>
            </a:r>
          </a:p>
        </p:txBody>
      </p:sp>
      <p:sp>
        <p:nvSpPr>
          <p:cNvPr id="89" name="Rectangle 88"/>
          <p:cNvSpPr/>
          <p:nvPr/>
        </p:nvSpPr>
        <p:spPr>
          <a:xfrm>
            <a:off x="22032000" y="2879999"/>
            <a:ext cx="21600000" cy="720001"/>
          </a:xfrm>
          <a:prstGeom prst="rect">
            <a:avLst/>
          </a:prstGeom>
          <a:solidFill>
            <a:srgbClr val="0000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r>
              <a:rPr sz="1400" b="1">
                <a:solidFill>
                  <a:srgbClr val="FFFFFF"/>
                </a:solidFill>
              </a:rPr>
              <a:t>Dummy Timeline 3</a:t>
            </a:r>
          </a:p>
        </p:txBody>
      </p:sp>
    </p:spTree>
    <p:extLst>
      <p:ext uri="{BB962C8B-B14F-4D97-AF65-F5344CB8AC3E}">
        <p14:creationId xmlns:p14="http://schemas.microsoft.com/office/powerpoint/2010/main" val="40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outdoor, city&#10;&#10;Description automatically generated">
            <a:extLst>
              <a:ext uri="{FF2B5EF4-FFF2-40B4-BE49-F238E27FC236}">
                <a16:creationId xmlns:a16="http://schemas.microsoft.com/office/drawing/2014/main" id="{95AD29A8-EF6C-0F6D-D214-F78924782A32}"/>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a:stretch/>
        </p:blipFill>
        <p:spPr/>
      </p:pic>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p:txBody>
          <a:bodyPr/>
          <a:lstStyle/>
          <a:p>
            <a:r>
              <a:rPr lang="en-US"/>
              <a:t>ABOUT US</a:t>
            </a:r>
            <a:endParaRPr lang="en-GB"/>
          </a:p>
        </p:txBody>
      </p:sp>
      <p:sp>
        <p:nvSpPr>
          <p:cNvPr id="7" name="TextBox 8">
            <a:extLst>
              <a:ext uri="{FF2B5EF4-FFF2-40B4-BE49-F238E27FC236}">
                <a16:creationId xmlns:a16="http://schemas.microsoft.com/office/drawing/2014/main" id="{15C97D61-4FAC-9DF8-0CD8-8D49CC9EA0C7}"/>
              </a:ext>
            </a:extLst>
          </p:cNvPr>
          <p:cNvSpPr txBox="1"/>
          <p:nvPr/>
        </p:nvSpPr>
        <p:spPr>
          <a:xfrm>
            <a:off x="557822" y="1994633"/>
            <a:ext cx="6736585" cy="2545569"/>
          </a:xfrm>
          <a:prstGeom prst="rect">
            <a:avLst/>
          </a:prstGeom>
        </p:spPr>
        <p:txBody>
          <a:bodyPr wrap="square" lIns="0" tIns="0" rIns="0" bIns="0" rtlCol="0" anchor="t">
            <a:spAutoFit/>
          </a:bodyPr>
          <a:lstStyle/>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 is a vendor-neutral professional consultancy and audit firm with specialized focus on information security and data protection. </a:t>
            </a:r>
          </a:p>
          <a:p>
            <a:pPr marL="0" marR="0" lvl="0" indent="0" algn="just" defTabSz="857250" rtl="0" eaLnBrk="1" fontAlgn="auto" latinLnBrk="0" hangingPunct="1">
              <a:lnSpc>
                <a:spcPts val="2530"/>
              </a:lnSpc>
              <a:spcBef>
                <a:spcPts val="0"/>
              </a:spcBef>
              <a:spcAft>
                <a:spcPts val="0"/>
              </a:spcAft>
              <a:buClrTx/>
              <a:buSzTx/>
              <a:buFontTx/>
              <a:buNone/>
              <a:tabLst/>
              <a:defRPr/>
            </a:pPr>
            <a:endPar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ts val="2530"/>
              </a:lnSpc>
              <a:spcBef>
                <a:spcPts val="0"/>
              </a:spcBef>
              <a:spcAft>
                <a:spcPts val="0"/>
              </a:spcAft>
              <a:buClrTx/>
              <a:buSzTx/>
              <a:buFontTx/>
              <a:buNone/>
              <a:tabLst/>
              <a:defRPr/>
            </a:pPr>
            <a:r>
              <a:rPr kumimoji="0" lang="en-US" sz="1800" b="0" i="0" u="none" strike="noStrike" kern="1200" cap="none" spc="16"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e are PCI SSC approved Qualified Security  Assessor (QSA) for PCI DSS. Our consultants collectively possess more than a-century-long experience working with large enterprises and governments . We deliver coherence for your governance, risk management and compliance need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67178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10;&#10;Description automatically generated">
            <a:extLst>
              <a:ext uri="{FF2B5EF4-FFF2-40B4-BE49-F238E27FC236}">
                <a16:creationId xmlns:a16="http://schemas.microsoft.com/office/drawing/2014/main" id="{68B69424-DBBA-77FB-D5B9-BF4E2C99D2CD}"/>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3168748F-9CFF-8FFF-D37A-08778FE35F21}"/>
              </a:ext>
            </a:extLst>
          </p:cNvPr>
          <p:cNvSpPr>
            <a:spLocks noGrp="1"/>
          </p:cNvSpPr>
          <p:nvPr>
            <p:ph type="body" sz="quarter" idx="12"/>
          </p:nvPr>
        </p:nvSpPr>
        <p:spPr/>
        <p:txBody>
          <a:bodyPr/>
          <a:lstStyle/>
          <a:p>
            <a:r>
              <a:rPr lang="en-US"/>
              <a:t>PROJECT MANAGEMENT</a:t>
            </a:r>
            <a:endParaRPr lang="en-GB"/>
          </a:p>
        </p:txBody>
      </p:sp>
    </p:spTree>
    <p:extLst>
      <p:ext uri="{BB962C8B-B14F-4D97-AF65-F5344CB8AC3E}">
        <p14:creationId xmlns:p14="http://schemas.microsoft.com/office/powerpoint/2010/main" val="406565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29969B44-2CDD-4BF0-FD3B-147311BCD556}"/>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4288" y="-1"/>
            <a:ext cx="12206288" cy="1467854"/>
          </a:xfrm>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1" y="1"/>
            <a:ext cx="12206288" cy="1467854"/>
          </a:xfrm>
          <a:solidFill>
            <a:schemeClr val="tx1">
              <a:lumMod val="95000"/>
              <a:lumOff val="5000"/>
              <a:alpha val="66000"/>
            </a:schemeClr>
          </a:solidFill>
        </p:spPr>
        <p:txBody>
          <a:bodyPr/>
          <a:lstStyle/>
          <a:p>
            <a:r>
              <a:rPr lang="en-US"/>
              <a:t>PROJECT MANAGEMENT METHODOLOGY</a:t>
            </a:r>
            <a:endParaRPr lang="en-GB"/>
          </a:p>
        </p:txBody>
      </p:sp>
      <p:sp>
        <p:nvSpPr>
          <p:cNvPr id="6" name="Freeform 12">
            <a:extLst>
              <a:ext uri="{FF2B5EF4-FFF2-40B4-BE49-F238E27FC236}">
                <a16:creationId xmlns:a16="http://schemas.microsoft.com/office/drawing/2014/main" id="{3FDE8D3D-9BD7-4AFE-1123-9CD5370883C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 Placeholder 8">
            <a:extLst>
              <a:ext uri="{FF2B5EF4-FFF2-40B4-BE49-F238E27FC236}">
                <a16:creationId xmlns:a16="http://schemas.microsoft.com/office/drawing/2014/main" id="{E43C51F5-401D-54D0-9708-63D129894B3A}"/>
              </a:ext>
            </a:extLst>
          </p:cNvPr>
          <p:cNvSpPr txBox="1">
            <a:spLocks/>
          </p:cNvSpPr>
          <p:nvPr/>
        </p:nvSpPr>
        <p:spPr>
          <a:xfrm>
            <a:off x="487129" y="1888288"/>
            <a:ext cx="10933346" cy="7201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8572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RC360’s methodology is based on wide professional experience and in-depth knowledge of project management. Best practices are embedded across the project management activities from initiation to closing.</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a:ln>
                <a:noFill/>
              </a:ln>
              <a:solidFill>
                <a:srgbClr val="000000"/>
              </a:solidFill>
              <a:effectLst/>
              <a:uLnTx/>
              <a:uFillTx/>
              <a:latin typeface="Calibri"/>
              <a:ea typeface="+mn-ea"/>
              <a:cs typeface="+mn-cs"/>
            </a:endParaRPr>
          </a:p>
        </p:txBody>
      </p:sp>
      <p:grpSp>
        <p:nvGrpSpPr>
          <p:cNvPr id="96" name="Group 95">
            <a:extLst>
              <a:ext uri="{FF2B5EF4-FFF2-40B4-BE49-F238E27FC236}">
                <a16:creationId xmlns:a16="http://schemas.microsoft.com/office/drawing/2014/main" id="{E1A58BBC-0A47-C1BA-5278-41257CA205BF}"/>
              </a:ext>
            </a:extLst>
          </p:cNvPr>
          <p:cNvGrpSpPr/>
          <p:nvPr/>
        </p:nvGrpSpPr>
        <p:grpSpPr>
          <a:xfrm>
            <a:off x="2289968" y="2875754"/>
            <a:ext cx="7797800" cy="3125349"/>
            <a:chOff x="2299493" y="3047204"/>
            <a:chExt cx="7797800" cy="3125349"/>
          </a:xfrm>
        </p:grpSpPr>
        <p:grpSp>
          <p:nvGrpSpPr>
            <p:cNvPr id="19" name="Группа 137">
              <a:extLst>
                <a:ext uri="{FF2B5EF4-FFF2-40B4-BE49-F238E27FC236}">
                  <a16:creationId xmlns:a16="http://schemas.microsoft.com/office/drawing/2014/main" id="{507FFCFA-5193-3ACB-1445-A29C67FA7592}"/>
                </a:ext>
              </a:extLst>
            </p:cNvPr>
            <p:cNvGrpSpPr/>
            <p:nvPr/>
          </p:nvGrpSpPr>
          <p:grpSpPr>
            <a:xfrm>
              <a:off x="2299493" y="4249516"/>
              <a:ext cx="7797800" cy="730250"/>
              <a:chOff x="962026" y="3490913"/>
              <a:chExt cx="7797800" cy="730250"/>
            </a:xfrm>
          </p:grpSpPr>
          <p:sp>
            <p:nvSpPr>
              <p:cNvPr id="20" name="Line 5">
                <a:extLst>
                  <a:ext uri="{FF2B5EF4-FFF2-40B4-BE49-F238E27FC236}">
                    <a16:creationId xmlns:a16="http://schemas.microsoft.com/office/drawing/2014/main" id="{3411F08F-4114-266F-AD19-68F0728A6AA7}"/>
                  </a:ext>
                </a:extLst>
              </p:cNvPr>
              <p:cNvSpPr>
                <a:spLocks noChangeShapeType="1"/>
              </p:cNvSpPr>
              <p:nvPr/>
            </p:nvSpPr>
            <p:spPr bwMode="auto">
              <a:xfrm>
                <a:off x="7400926" y="3856038"/>
                <a:ext cx="1073150" cy="0"/>
              </a:xfrm>
              <a:prstGeom prst="line">
                <a:avLst/>
              </a:prstGeom>
              <a:noFill/>
              <a:ln w="60325" cap="rnd">
                <a:solidFill>
                  <a:srgbClr val="473C4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1" name="Oval 6">
                <a:extLst>
                  <a:ext uri="{FF2B5EF4-FFF2-40B4-BE49-F238E27FC236}">
                    <a16:creationId xmlns:a16="http://schemas.microsoft.com/office/drawing/2014/main" id="{E0A4BAA5-79FB-BAE4-6396-CAB64CDF1784}"/>
                  </a:ext>
                </a:extLst>
              </p:cNvPr>
              <p:cNvSpPr>
                <a:spLocks noChangeArrowheads="1"/>
              </p:cNvSpPr>
              <p:nvPr/>
            </p:nvSpPr>
            <p:spPr bwMode="auto">
              <a:xfrm>
                <a:off x="8474076" y="3713163"/>
                <a:ext cx="285750" cy="285750"/>
              </a:xfrm>
              <a:prstGeom prst="ellipse">
                <a:avLst/>
              </a:prstGeom>
              <a:noFill/>
              <a:ln w="60325" cap="rnd">
                <a:solidFill>
                  <a:srgbClr val="473C4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2" name="Freeform 7">
                <a:extLst>
                  <a:ext uri="{FF2B5EF4-FFF2-40B4-BE49-F238E27FC236}">
                    <a16:creationId xmlns:a16="http://schemas.microsoft.com/office/drawing/2014/main" id="{BBD3C7D4-74F6-F664-14EC-A7C77428C239}"/>
                  </a:ext>
                </a:extLst>
              </p:cNvPr>
              <p:cNvSpPr>
                <a:spLocks/>
              </p:cNvSpPr>
              <p:nvPr/>
            </p:nvSpPr>
            <p:spPr bwMode="auto">
              <a:xfrm>
                <a:off x="616902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531F4698-6B48-7207-8582-3945B4CEF6BE}"/>
                  </a:ext>
                </a:extLst>
              </p:cNvPr>
              <p:cNvSpPr>
                <a:spLocks/>
              </p:cNvSpPr>
              <p:nvPr/>
            </p:nvSpPr>
            <p:spPr bwMode="auto">
              <a:xfrm>
                <a:off x="4937126"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6" name="Freeform 15">
                <a:extLst>
                  <a:ext uri="{FF2B5EF4-FFF2-40B4-BE49-F238E27FC236}">
                    <a16:creationId xmlns:a16="http://schemas.microsoft.com/office/drawing/2014/main" id="{6E187D14-1C4C-494D-BEDC-A2D597DB58EE}"/>
                  </a:ext>
                </a:extLst>
              </p:cNvPr>
              <p:cNvSpPr>
                <a:spLocks/>
              </p:cNvSpPr>
              <p:nvPr/>
            </p:nvSpPr>
            <p:spPr bwMode="auto">
              <a:xfrm>
                <a:off x="3709988"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17">
                <a:extLst>
                  <a:ext uri="{FF2B5EF4-FFF2-40B4-BE49-F238E27FC236}">
                    <a16:creationId xmlns:a16="http://schemas.microsoft.com/office/drawing/2014/main" id="{09114DC3-92FE-B268-8151-49EA68931AF1}"/>
                  </a:ext>
                </a:extLst>
              </p:cNvPr>
              <p:cNvSpPr>
                <a:spLocks/>
              </p:cNvSpPr>
              <p:nvPr/>
            </p:nvSpPr>
            <p:spPr bwMode="auto">
              <a:xfrm>
                <a:off x="2478088" y="3856038"/>
                <a:ext cx="1074738" cy="365125"/>
              </a:xfrm>
              <a:custGeom>
                <a:avLst/>
                <a:gdLst>
                  <a:gd name="T0" fmla="*/ 0 w 677"/>
                  <a:gd name="T1" fmla="*/ 0 h 230"/>
                  <a:gd name="T2" fmla="*/ 677 w 677"/>
                  <a:gd name="T3" fmla="*/ 0 h 230"/>
                  <a:gd name="T4" fmla="*/ 677 w 677"/>
                  <a:gd name="T5" fmla="*/ 230 h 230"/>
                </a:gdLst>
                <a:ahLst/>
                <a:cxnLst>
                  <a:cxn ang="0">
                    <a:pos x="T0" y="T1"/>
                  </a:cxn>
                  <a:cxn ang="0">
                    <a:pos x="T2" y="T3"/>
                  </a:cxn>
                  <a:cxn ang="0">
                    <a:pos x="T4" y="T5"/>
                  </a:cxn>
                </a:cxnLst>
                <a:rect l="0" t="0" r="r" b="b"/>
                <a:pathLst>
                  <a:path w="677" h="230">
                    <a:moveTo>
                      <a:pt x="0" y="0"/>
                    </a:moveTo>
                    <a:lnTo>
                      <a:pt x="677" y="0"/>
                    </a:lnTo>
                    <a:lnTo>
                      <a:pt x="677" y="230"/>
                    </a:lnTo>
                  </a:path>
                </a:pathLst>
              </a:cu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19">
                <a:extLst>
                  <a:ext uri="{FF2B5EF4-FFF2-40B4-BE49-F238E27FC236}">
                    <a16:creationId xmlns:a16="http://schemas.microsoft.com/office/drawing/2014/main" id="{0B6BDB20-A513-6D8A-5FD2-890AD1896572}"/>
                  </a:ext>
                </a:extLst>
              </p:cNvPr>
              <p:cNvSpPr>
                <a:spLocks/>
              </p:cNvSpPr>
              <p:nvPr/>
            </p:nvSpPr>
            <p:spPr bwMode="auto">
              <a:xfrm>
                <a:off x="1247776" y="3490913"/>
                <a:ext cx="1073150" cy="365125"/>
              </a:xfrm>
              <a:custGeom>
                <a:avLst/>
                <a:gdLst>
                  <a:gd name="T0" fmla="*/ 0 w 676"/>
                  <a:gd name="T1" fmla="*/ 230 h 230"/>
                  <a:gd name="T2" fmla="*/ 676 w 676"/>
                  <a:gd name="T3" fmla="*/ 230 h 230"/>
                  <a:gd name="T4" fmla="*/ 676 w 676"/>
                  <a:gd name="T5" fmla="*/ 0 h 230"/>
                </a:gdLst>
                <a:ahLst/>
                <a:cxnLst>
                  <a:cxn ang="0">
                    <a:pos x="T0" y="T1"/>
                  </a:cxn>
                  <a:cxn ang="0">
                    <a:pos x="T2" y="T3"/>
                  </a:cxn>
                  <a:cxn ang="0">
                    <a:pos x="T4" y="T5"/>
                  </a:cxn>
                </a:cxnLst>
                <a:rect l="0" t="0" r="r" b="b"/>
                <a:pathLst>
                  <a:path w="676" h="230">
                    <a:moveTo>
                      <a:pt x="0" y="230"/>
                    </a:moveTo>
                    <a:lnTo>
                      <a:pt x="676" y="230"/>
                    </a:lnTo>
                    <a:lnTo>
                      <a:pt x="676" y="0"/>
                    </a:lnTo>
                  </a:path>
                </a:pathLst>
              </a:cu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Oval 21">
                <a:extLst>
                  <a:ext uri="{FF2B5EF4-FFF2-40B4-BE49-F238E27FC236}">
                    <a16:creationId xmlns:a16="http://schemas.microsoft.com/office/drawing/2014/main" id="{E372B2D1-4DF9-4735-2721-2095AC9D1649}"/>
                  </a:ext>
                </a:extLst>
              </p:cNvPr>
              <p:cNvSpPr>
                <a:spLocks noChangeArrowheads="1"/>
              </p:cNvSpPr>
              <p:nvPr/>
            </p:nvSpPr>
            <p:spPr bwMode="auto">
              <a:xfrm>
                <a:off x="962026" y="3713163"/>
                <a:ext cx="285750" cy="2857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30" name="Группа 136">
              <a:extLst>
                <a:ext uri="{FF2B5EF4-FFF2-40B4-BE49-F238E27FC236}">
                  <a16:creationId xmlns:a16="http://schemas.microsoft.com/office/drawing/2014/main" id="{4A92D42E-21CD-560F-4E4E-751A5F6B3CD7}"/>
                </a:ext>
              </a:extLst>
            </p:cNvPr>
            <p:cNvGrpSpPr/>
            <p:nvPr/>
          </p:nvGrpSpPr>
          <p:grpSpPr>
            <a:xfrm>
              <a:off x="3222331" y="3354166"/>
              <a:ext cx="5824538" cy="2520950"/>
              <a:chOff x="1874838" y="2595563"/>
              <a:chExt cx="5824538" cy="2520950"/>
            </a:xfrm>
          </p:grpSpPr>
          <p:sp>
            <p:nvSpPr>
              <p:cNvPr id="31" name="Oval 8">
                <a:extLst>
                  <a:ext uri="{FF2B5EF4-FFF2-40B4-BE49-F238E27FC236}">
                    <a16:creationId xmlns:a16="http://schemas.microsoft.com/office/drawing/2014/main" id="{5849453A-256F-154E-EEE0-9FD33D49BBCA}"/>
                  </a:ext>
                </a:extLst>
              </p:cNvPr>
              <p:cNvSpPr>
                <a:spLocks noChangeArrowheads="1"/>
              </p:cNvSpPr>
              <p:nvPr/>
            </p:nvSpPr>
            <p:spPr bwMode="auto">
              <a:xfrm>
                <a:off x="6805613" y="2595563"/>
                <a:ext cx="893763" cy="895350"/>
              </a:xfrm>
              <a:prstGeom prst="ellipse">
                <a:avLst/>
              </a:prstGeom>
              <a:noFill/>
              <a:ln w="60325" cap="rnd">
                <a:solidFill>
                  <a:srgbClr val="4F648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2" name="Oval 10">
                <a:extLst>
                  <a:ext uri="{FF2B5EF4-FFF2-40B4-BE49-F238E27FC236}">
                    <a16:creationId xmlns:a16="http://schemas.microsoft.com/office/drawing/2014/main" id="{15E3C3EC-9F86-8AD2-DD4B-6A41DCD23F84}"/>
                  </a:ext>
                </a:extLst>
              </p:cNvPr>
              <p:cNvSpPr>
                <a:spLocks noChangeArrowheads="1"/>
              </p:cNvSpPr>
              <p:nvPr/>
            </p:nvSpPr>
            <p:spPr bwMode="auto">
              <a:xfrm>
                <a:off x="5570538" y="4221163"/>
                <a:ext cx="896938" cy="895350"/>
              </a:xfrm>
              <a:prstGeom prst="ellipse">
                <a:avLst/>
              </a:prstGeom>
              <a:noFill/>
              <a:ln w="60325" cap="rnd">
                <a:solidFill>
                  <a:srgbClr val="62588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Oval 16">
                <a:extLst>
                  <a:ext uri="{FF2B5EF4-FFF2-40B4-BE49-F238E27FC236}">
                    <a16:creationId xmlns:a16="http://schemas.microsoft.com/office/drawing/2014/main" id="{DDEE4BD7-920C-55D8-795E-637F1E15ADAB}"/>
                  </a:ext>
                </a:extLst>
              </p:cNvPr>
              <p:cNvSpPr>
                <a:spLocks noChangeArrowheads="1"/>
              </p:cNvSpPr>
              <p:nvPr/>
            </p:nvSpPr>
            <p:spPr bwMode="auto">
              <a:xfrm>
                <a:off x="4337051" y="2595563"/>
                <a:ext cx="893763" cy="895350"/>
              </a:xfrm>
              <a:prstGeom prst="ellipse">
                <a:avLst/>
              </a:prstGeom>
              <a:noFill/>
              <a:ln w="60325" cap="rnd">
                <a:solidFill>
                  <a:srgbClr val="7C7E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Oval 18">
                <a:extLst>
                  <a:ext uri="{FF2B5EF4-FFF2-40B4-BE49-F238E27FC236}">
                    <a16:creationId xmlns:a16="http://schemas.microsoft.com/office/drawing/2014/main" id="{A6B76A6F-76D8-F7FE-367D-F5BDF4703DE2}"/>
                  </a:ext>
                </a:extLst>
              </p:cNvPr>
              <p:cNvSpPr>
                <a:spLocks noChangeArrowheads="1"/>
              </p:cNvSpPr>
              <p:nvPr/>
            </p:nvSpPr>
            <p:spPr bwMode="auto">
              <a:xfrm>
                <a:off x="3101976" y="4221163"/>
                <a:ext cx="896938" cy="895350"/>
              </a:xfrm>
              <a:prstGeom prst="ellipse">
                <a:avLst/>
              </a:prstGeom>
              <a:noFill/>
              <a:ln w="60325" cap="rnd">
                <a:solidFill>
                  <a:srgbClr val="30384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Oval 20">
                <a:extLst>
                  <a:ext uri="{FF2B5EF4-FFF2-40B4-BE49-F238E27FC236}">
                    <a16:creationId xmlns:a16="http://schemas.microsoft.com/office/drawing/2014/main" id="{02994275-82C6-400F-1677-9147C959BCFE}"/>
                  </a:ext>
                </a:extLst>
              </p:cNvPr>
              <p:cNvSpPr>
                <a:spLocks noChangeArrowheads="1"/>
              </p:cNvSpPr>
              <p:nvPr/>
            </p:nvSpPr>
            <p:spPr bwMode="auto">
              <a:xfrm>
                <a:off x="1874838" y="2595563"/>
                <a:ext cx="892175" cy="895350"/>
              </a:xfrm>
              <a:prstGeom prst="ellipse">
                <a:avLst/>
              </a:prstGeom>
              <a:noFill/>
              <a:ln w="60325" cap="rnd">
                <a:solidFill>
                  <a:srgbClr val="557F8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5" name="Freeform 43">
              <a:extLst>
                <a:ext uri="{FF2B5EF4-FFF2-40B4-BE49-F238E27FC236}">
                  <a16:creationId xmlns:a16="http://schemas.microsoft.com/office/drawing/2014/main" id="{1EB1C631-E5CF-8334-785F-F2155A6FD0CE}"/>
                </a:ext>
              </a:extLst>
            </p:cNvPr>
            <p:cNvSpPr>
              <a:spLocks noEditPoints="1"/>
            </p:cNvSpPr>
            <p:nvPr/>
          </p:nvSpPr>
          <p:spPr bwMode="auto">
            <a:xfrm>
              <a:off x="8370195" y="3655811"/>
              <a:ext cx="446885" cy="380186"/>
            </a:xfrm>
            <a:custGeom>
              <a:avLst/>
              <a:gdLst>
                <a:gd name="T0" fmla="*/ 193 w 221"/>
                <a:gd name="T1" fmla="*/ 102 h 187"/>
                <a:gd name="T2" fmla="*/ 221 w 221"/>
                <a:gd name="T3" fmla="*/ 74 h 187"/>
                <a:gd name="T4" fmla="*/ 147 w 221"/>
                <a:gd name="T5" fmla="*/ 0 h 187"/>
                <a:gd name="T6" fmla="*/ 119 w 221"/>
                <a:gd name="T7" fmla="*/ 29 h 187"/>
                <a:gd name="T8" fmla="*/ 125 w 221"/>
                <a:gd name="T9" fmla="*/ 34 h 187"/>
                <a:gd name="T10" fmla="*/ 114 w 221"/>
                <a:gd name="T11" fmla="*/ 46 h 187"/>
                <a:gd name="T12" fmla="*/ 102 w 221"/>
                <a:gd name="T13" fmla="*/ 34 h 187"/>
                <a:gd name="T14" fmla="*/ 108 w 221"/>
                <a:gd name="T15" fmla="*/ 29 h 187"/>
                <a:gd name="T16" fmla="*/ 80 w 221"/>
                <a:gd name="T17" fmla="*/ 0 h 187"/>
                <a:gd name="T18" fmla="*/ 0 w 221"/>
                <a:gd name="T19" fmla="*/ 80 h 187"/>
                <a:gd name="T20" fmla="*/ 29 w 221"/>
                <a:gd name="T21" fmla="*/ 108 h 187"/>
                <a:gd name="T22" fmla="*/ 34 w 221"/>
                <a:gd name="T23" fmla="*/ 102 h 187"/>
                <a:gd name="T24" fmla="*/ 119 w 221"/>
                <a:gd name="T25" fmla="*/ 187 h 187"/>
                <a:gd name="T26" fmla="*/ 187 w 221"/>
                <a:gd name="T27" fmla="*/ 119 h 187"/>
                <a:gd name="T28" fmla="*/ 176 w 221"/>
                <a:gd name="T29" fmla="*/ 108 h 187"/>
                <a:gd name="T30" fmla="*/ 187 w 221"/>
                <a:gd name="T31" fmla="*/ 96 h 187"/>
                <a:gd name="T32" fmla="*/ 193 w 221"/>
                <a:gd name="T33" fmla="*/ 102 h 187"/>
                <a:gd name="T34" fmla="*/ 12 w 221"/>
                <a:gd name="T35" fmla="*/ 80 h 187"/>
                <a:gd name="T36" fmla="*/ 80 w 221"/>
                <a:gd name="T37" fmla="*/ 12 h 187"/>
                <a:gd name="T38" fmla="*/ 97 w 221"/>
                <a:gd name="T39" fmla="*/ 29 h 187"/>
                <a:gd name="T40" fmla="*/ 29 w 221"/>
                <a:gd name="T41" fmla="*/ 96 h 187"/>
                <a:gd name="T42" fmla="*/ 12 w 221"/>
                <a:gd name="T43" fmla="*/ 80 h 187"/>
                <a:gd name="T44" fmla="*/ 167 w 221"/>
                <a:gd name="T45" fmla="*/ 128 h 187"/>
                <a:gd name="T46" fmla="*/ 142 w 221"/>
                <a:gd name="T47" fmla="*/ 102 h 187"/>
                <a:gd name="T48" fmla="*/ 136 w 221"/>
                <a:gd name="T49" fmla="*/ 102 h 187"/>
                <a:gd name="T50" fmla="*/ 136 w 221"/>
                <a:gd name="T51" fmla="*/ 108 h 187"/>
                <a:gd name="T52" fmla="*/ 162 w 221"/>
                <a:gd name="T53" fmla="*/ 133 h 187"/>
                <a:gd name="T54" fmla="*/ 150 w 221"/>
                <a:gd name="T55" fmla="*/ 145 h 187"/>
                <a:gd name="T56" fmla="*/ 125 w 221"/>
                <a:gd name="T57" fmla="*/ 119 h 187"/>
                <a:gd name="T58" fmla="*/ 119 w 221"/>
                <a:gd name="T59" fmla="*/ 119 h 187"/>
                <a:gd name="T60" fmla="*/ 119 w 221"/>
                <a:gd name="T61" fmla="*/ 125 h 187"/>
                <a:gd name="T62" fmla="*/ 145 w 221"/>
                <a:gd name="T63" fmla="*/ 150 h 187"/>
                <a:gd name="T64" fmla="*/ 145 w 221"/>
                <a:gd name="T65" fmla="*/ 150 h 187"/>
                <a:gd name="T66" fmla="*/ 133 w 221"/>
                <a:gd name="T67" fmla="*/ 162 h 187"/>
                <a:gd name="T68" fmla="*/ 108 w 221"/>
                <a:gd name="T69" fmla="*/ 136 h 187"/>
                <a:gd name="T70" fmla="*/ 102 w 221"/>
                <a:gd name="T71" fmla="*/ 136 h 187"/>
                <a:gd name="T72" fmla="*/ 102 w 221"/>
                <a:gd name="T73" fmla="*/ 142 h 187"/>
                <a:gd name="T74" fmla="*/ 128 w 221"/>
                <a:gd name="T75" fmla="*/ 167 h 187"/>
                <a:gd name="T76" fmla="*/ 128 w 221"/>
                <a:gd name="T77" fmla="*/ 167 h 187"/>
                <a:gd name="T78" fmla="*/ 119 w 221"/>
                <a:gd name="T79" fmla="*/ 176 h 187"/>
                <a:gd name="T80" fmla="*/ 40 w 221"/>
                <a:gd name="T81" fmla="*/ 96 h 187"/>
                <a:gd name="T82" fmla="*/ 97 w 221"/>
                <a:gd name="T83" fmla="*/ 40 h 187"/>
                <a:gd name="T84" fmla="*/ 108 w 221"/>
                <a:gd name="T85" fmla="*/ 51 h 187"/>
                <a:gd name="T86" fmla="*/ 77 w 221"/>
                <a:gd name="T87" fmla="*/ 82 h 187"/>
                <a:gd name="T88" fmla="*/ 99 w 221"/>
                <a:gd name="T89" fmla="*/ 105 h 187"/>
                <a:gd name="T90" fmla="*/ 130 w 221"/>
                <a:gd name="T91" fmla="*/ 74 h 187"/>
                <a:gd name="T92" fmla="*/ 176 w 221"/>
                <a:gd name="T93" fmla="*/ 119 h 187"/>
                <a:gd name="T94" fmla="*/ 167 w 221"/>
                <a:gd name="T95" fmla="*/ 128 h 187"/>
                <a:gd name="T96" fmla="*/ 170 w 221"/>
                <a:gd name="T97" fmla="*/ 102 h 187"/>
                <a:gd name="T98" fmla="*/ 133 w 221"/>
                <a:gd name="T99" fmla="*/ 65 h 187"/>
                <a:gd name="T100" fmla="*/ 128 w 221"/>
                <a:gd name="T101" fmla="*/ 65 h 187"/>
                <a:gd name="T102" fmla="*/ 99 w 221"/>
                <a:gd name="T103" fmla="*/ 94 h 187"/>
                <a:gd name="T104" fmla="*/ 88 w 221"/>
                <a:gd name="T105" fmla="*/ 82 h 187"/>
                <a:gd name="T106" fmla="*/ 116 w 221"/>
                <a:gd name="T107" fmla="*/ 54 h 187"/>
                <a:gd name="T108" fmla="*/ 130 w 221"/>
                <a:gd name="T109" fmla="*/ 40 h 187"/>
                <a:gd name="T110" fmla="*/ 181 w 221"/>
                <a:gd name="T111" fmla="*/ 91 h 187"/>
                <a:gd name="T112" fmla="*/ 170 w 221"/>
                <a:gd name="T113" fmla="*/ 102 h 187"/>
                <a:gd name="T114" fmla="*/ 147 w 221"/>
                <a:gd name="T115" fmla="*/ 12 h 187"/>
                <a:gd name="T116" fmla="*/ 210 w 221"/>
                <a:gd name="T117" fmla="*/ 74 h 187"/>
                <a:gd name="T118" fmla="*/ 193 w 221"/>
                <a:gd name="T119" fmla="*/ 91 h 187"/>
                <a:gd name="T120" fmla="*/ 130 w 221"/>
                <a:gd name="T121" fmla="*/ 29 h 187"/>
                <a:gd name="T122" fmla="*/ 147 w 221"/>
                <a:gd name="T12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 h="187">
                  <a:moveTo>
                    <a:pt x="193" y="102"/>
                  </a:moveTo>
                  <a:cubicBezTo>
                    <a:pt x="221" y="74"/>
                    <a:pt x="221" y="74"/>
                    <a:pt x="221" y="74"/>
                  </a:cubicBezTo>
                  <a:cubicBezTo>
                    <a:pt x="147" y="0"/>
                    <a:pt x="147" y="0"/>
                    <a:pt x="147" y="0"/>
                  </a:cubicBezTo>
                  <a:cubicBezTo>
                    <a:pt x="119" y="29"/>
                    <a:pt x="119" y="29"/>
                    <a:pt x="119" y="29"/>
                  </a:cubicBezTo>
                  <a:cubicBezTo>
                    <a:pt x="125" y="34"/>
                    <a:pt x="125" y="34"/>
                    <a:pt x="125" y="34"/>
                  </a:cubicBezTo>
                  <a:cubicBezTo>
                    <a:pt x="114" y="46"/>
                    <a:pt x="114" y="46"/>
                    <a:pt x="114" y="46"/>
                  </a:cubicBezTo>
                  <a:cubicBezTo>
                    <a:pt x="102" y="34"/>
                    <a:pt x="102" y="34"/>
                    <a:pt x="102" y="34"/>
                  </a:cubicBezTo>
                  <a:cubicBezTo>
                    <a:pt x="108" y="29"/>
                    <a:pt x="108" y="29"/>
                    <a:pt x="108" y="29"/>
                  </a:cubicBezTo>
                  <a:cubicBezTo>
                    <a:pt x="80" y="0"/>
                    <a:pt x="80" y="0"/>
                    <a:pt x="80" y="0"/>
                  </a:cubicBezTo>
                  <a:cubicBezTo>
                    <a:pt x="0" y="80"/>
                    <a:pt x="0" y="80"/>
                    <a:pt x="0" y="80"/>
                  </a:cubicBezTo>
                  <a:cubicBezTo>
                    <a:pt x="29" y="108"/>
                    <a:pt x="29" y="108"/>
                    <a:pt x="29" y="108"/>
                  </a:cubicBezTo>
                  <a:cubicBezTo>
                    <a:pt x="34" y="102"/>
                    <a:pt x="34" y="102"/>
                    <a:pt x="34" y="102"/>
                  </a:cubicBezTo>
                  <a:cubicBezTo>
                    <a:pt x="119" y="187"/>
                    <a:pt x="119" y="187"/>
                    <a:pt x="119" y="187"/>
                  </a:cubicBezTo>
                  <a:cubicBezTo>
                    <a:pt x="187" y="119"/>
                    <a:pt x="187" y="119"/>
                    <a:pt x="187" y="119"/>
                  </a:cubicBezTo>
                  <a:cubicBezTo>
                    <a:pt x="176" y="108"/>
                    <a:pt x="176" y="108"/>
                    <a:pt x="176" y="108"/>
                  </a:cubicBezTo>
                  <a:cubicBezTo>
                    <a:pt x="187" y="96"/>
                    <a:pt x="187" y="96"/>
                    <a:pt x="187" y="96"/>
                  </a:cubicBezTo>
                  <a:lnTo>
                    <a:pt x="193" y="102"/>
                  </a:lnTo>
                  <a:close/>
                  <a:moveTo>
                    <a:pt x="12" y="80"/>
                  </a:moveTo>
                  <a:cubicBezTo>
                    <a:pt x="80" y="12"/>
                    <a:pt x="80" y="12"/>
                    <a:pt x="80" y="12"/>
                  </a:cubicBezTo>
                  <a:cubicBezTo>
                    <a:pt x="97" y="29"/>
                    <a:pt x="97" y="29"/>
                    <a:pt x="97" y="29"/>
                  </a:cubicBezTo>
                  <a:cubicBezTo>
                    <a:pt x="29" y="96"/>
                    <a:pt x="29" y="96"/>
                    <a:pt x="29" y="96"/>
                  </a:cubicBezTo>
                  <a:lnTo>
                    <a:pt x="12" y="80"/>
                  </a:lnTo>
                  <a:close/>
                  <a:moveTo>
                    <a:pt x="167" y="128"/>
                  </a:moveTo>
                  <a:cubicBezTo>
                    <a:pt x="142" y="102"/>
                    <a:pt x="142" y="102"/>
                    <a:pt x="142" y="102"/>
                  </a:cubicBezTo>
                  <a:cubicBezTo>
                    <a:pt x="140" y="101"/>
                    <a:pt x="138" y="101"/>
                    <a:pt x="136" y="102"/>
                  </a:cubicBezTo>
                  <a:cubicBezTo>
                    <a:pt x="135" y="104"/>
                    <a:pt x="135" y="106"/>
                    <a:pt x="136" y="108"/>
                  </a:cubicBezTo>
                  <a:cubicBezTo>
                    <a:pt x="162" y="133"/>
                    <a:pt x="162" y="133"/>
                    <a:pt x="162" y="133"/>
                  </a:cubicBezTo>
                  <a:cubicBezTo>
                    <a:pt x="150" y="145"/>
                    <a:pt x="150" y="145"/>
                    <a:pt x="150" y="145"/>
                  </a:cubicBezTo>
                  <a:cubicBezTo>
                    <a:pt x="125" y="119"/>
                    <a:pt x="125" y="119"/>
                    <a:pt x="125" y="119"/>
                  </a:cubicBezTo>
                  <a:cubicBezTo>
                    <a:pt x="123" y="118"/>
                    <a:pt x="121" y="118"/>
                    <a:pt x="119" y="119"/>
                  </a:cubicBezTo>
                  <a:cubicBezTo>
                    <a:pt x="118" y="121"/>
                    <a:pt x="118" y="123"/>
                    <a:pt x="119" y="125"/>
                  </a:cubicBezTo>
                  <a:cubicBezTo>
                    <a:pt x="145" y="150"/>
                    <a:pt x="145" y="150"/>
                    <a:pt x="145" y="150"/>
                  </a:cubicBezTo>
                  <a:cubicBezTo>
                    <a:pt x="145" y="150"/>
                    <a:pt x="145" y="150"/>
                    <a:pt x="145" y="150"/>
                  </a:cubicBezTo>
                  <a:cubicBezTo>
                    <a:pt x="133" y="162"/>
                    <a:pt x="133" y="162"/>
                    <a:pt x="133" y="162"/>
                  </a:cubicBezTo>
                  <a:cubicBezTo>
                    <a:pt x="108" y="136"/>
                    <a:pt x="108" y="136"/>
                    <a:pt x="108" y="136"/>
                  </a:cubicBezTo>
                  <a:cubicBezTo>
                    <a:pt x="106" y="135"/>
                    <a:pt x="104" y="135"/>
                    <a:pt x="102" y="136"/>
                  </a:cubicBezTo>
                  <a:cubicBezTo>
                    <a:pt x="101" y="138"/>
                    <a:pt x="101" y="140"/>
                    <a:pt x="102" y="142"/>
                  </a:cubicBezTo>
                  <a:cubicBezTo>
                    <a:pt x="128" y="167"/>
                    <a:pt x="128" y="167"/>
                    <a:pt x="128" y="167"/>
                  </a:cubicBezTo>
                  <a:cubicBezTo>
                    <a:pt x="128" y="167"/>
                    <a:pt x="128" y="167"/>
                    <a:pt x="128" y="167"/>
                  </a:cubicBezTo>
                  <a:cubicBezTo>
                    <a:pt x="119" y="176"/>
                    <a:pt x="119" y="176"/>
                    <a:pt x="119" y="176"/>
                  </a:cubicBezTo>
                  <a:cubicBezTo>
                    <a:pt x="40" y="96"/>
                    <a:pt x="40" y="96"/>
                    <a:pt x="40" y="96"/>
                  </a:cubicBezTo>
                  <a:cubicBezTo>
                    <a:pt x="97" y="40"/>
                    <a:pt x="97" y="40"/>
                    <a:pt x="97" y="40"/>
                  </a:cubicBezTo>
                  <a:cubicBezTo>
                    <a:pt x="108" y="51"/>
                    <a:pt x="108" y="51"/>
                    <a:pt x="108" y="51"/>
                  </a:cubicBezTo>
                  <a:cubicBezTo>
                    <a:pt x="77" y="82"/>
                    <a:pt x="77" y="82"/>
                    <a:pt x="77" y="82"/>
                  </a:cubicBezTo>
                  <a:cubicBezTo>
                    <a:pt x="99" y="105"/>
                    <a:pt x="99" y="105"/>
                    <a:pt x="99" y="105"/>
                  </a:cubicBezTo>
                  <a:cubicBezTo>
                    <a:pt x="130" y="74"/>
                    <a:pt x="130" y="74"/>
                    <a:pt x="130" y="74"/>
                  </a:cubicBezTo>
                  <a:cubicBezTo>
                    <a:pt x="176" y="119"/>
                    <a:pt x="176" y="119"/>
                    <a:pt x="176" y="119"/>
                  </a:cubicBezTo>
                  <a:lnTo>
                    <a:pt x="167" y="128"/>
                  </a:lnTo>
                  <a:close/>
                  <a:moveTo>
                    <a:pt x="170" y="102"/>
                  </a:moveTo>
                  <a:cubicBezTo>
                    <a:pt x="133" y="65"/>
                    <a:pt x="133" y="65"/>
                    <a:pt x="133" y="65"/>
                  </a:cubicBezTo>
                  <a:cubicBezTo>
                    <a:pt x="132" y="64"/>
                    <a:pt x="129" y="64"/>
                    <a:pt x="128" y="65"/>
                  </a:cubicBezTo>
                  <a:cubicBezTo>
                    <a:pt x="99" y="94"/>
                    <a:pt x="99" y="94"/>
                    <a:pt x="99" y="94"/>
                  </a:cubicBezTo>
                  <a:cubicBezTo>
                    <a:pt x="88" y="82"/>
                    <a:pt x="88" y="82"/>
                    <a:pt x="88" y="82"/>
                  </a:cubicBezTo>
                  <a:cubicBezTo>
                    <a:pt x="116" y="54"/>
                    <a:pt x="116" y="54"/>
                    <a:pt x="116" y="54"/>
                  </a:cubicBezTo>
                  <a:cubicBezTo>
                    <a:pt x="130" y="40"/>
                    <a:pt x="130" y="40"/>
                    <a:pt x="130" y="40"/>
                  </a:cubicBezTo>
                  <a:cubicBezTo>
                    <a:pt x="181" y="91"/>
                    <a:pt x="181" y="91"/>
                    <a:pt x="181" y="91"/>
                  </a:cubicBezTo>
                  <a:lnTo>
                    <a:pt x="170" y="102"/>
                  </a:lnTo>
                  <a:close/>
                  <a:moveTo>
                    <a:pt x="147" y="12"/>
                  </a:moveTo>
                  <a:cubicBezTo>
                    <a:pt x="210" y="74"/>
                    <a:pt x="210" y="74"/>
                    <a:pt x="210" y="74"/>
                  </a:cubicBezTo>
                  <a:cubicBezTo>
                    <a:pt x="193" y="91"/>
                    <a:pt x="193" y="91"/>
                    <a:pt x="193" y="91"/>
                  </a:cubicBezTo>
                  <a:cubicBezTo>
                    <a:pt x="130" y="29"/>
                    <a:pt x="130" y="29"/>
                    <a:pt x="130" y="29"/>
                  </a:cubicBezTo>
                  <a:lnTo>
                    <a:pt x="147" y="12"/>
                  </a:lnTo>
                  <a:close/>
                </a:path>
              </a:pathLst>
            </a:custGeom>
            <a:solidFill>
              <a:srgbClr val="7396A0"/>
            </a:solidFill>
            <a:ln w="3175">
              <a:solidFill>
                <a:srgbClr val="7396A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CACF68EA-E3D5-4B66-11D7-47868909053C}"/>
                </a:ext>
              </a:extLst>
            </p:cNvPr>
            <p:cNvSpPr txBox="1"/>
            <p:nvPr/>
          </p:nvSpPr>
          <p:spPr>
            <a:xfrm>
              <a:off x="8042775" y="3067642"/>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CLOSING</a:t>
              </a:r>
            </a:p>
          </p:txBody>
        </p:sp>
        <p:sp>
          <p:nvSpPr>
            <p:cNvPr id="87" name="TextBox 86">
              <a:extLst>
                <a:ext uri="{FF2B5EF4-FFF2-40B4-BE49-F238E27FC236}">
                  <a16:creationId xmlns:a16="http://schemas.microsoft.com/office/drawing/2014/main" id="{329B076E-EFAC-5CF5-0AB0-3EB225D6DABA}"/>
                </a:ext>
              </a:extLst>
            </p:cNvPr>
            <p:cNvSpPr txBox="1"/>
            <p:nvPr/>
          </p:nvSpPr>
          <p:spPr>
            <a:xfrm>
              <a:off x="6394445" y="5884641"/>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2588A"/>
                  </a:solidFill>
                  <a:effectLst/>
                  <a:uLnTx/>
                  <a:uFillTx/>
                  <a:latin typeface="Calibri"/>
                  <a:ea typeface="+mn-ea"/>
                  <a:cs typeface="+mn-cs"/>
                </a:rPr>
                <a:t>MONITORING &amp; CONTROL</a:t>
              </a:r>
            </a:p>
          </p:txBody>
        </p:sp>
        <p:sp>
          <p:nvSpPr>
            <p:cNvPr id="88" name="Freeform 55">
              <a:extLst>
                <a:ext uri="{FF2B5EF4-FFF2-40B4-BE49-F238E27FC236}">
                  <a16:creationId xmlns:a16="http://schemas.microsoft.com/office/drawing/2014/main" id="{0CCF1C3C-19A7-5FCB-AF19-7BD2B75F61E6}"/>
                </a:ext>
              </a:extLst>
            </p:cNvPr>
            <p:cNvSpPr>
              <a:spLocks noEditPoints="1"/>
            </p:cNvSpPr>
            <p:nvPr/>
          </p:nvSpPr>
          <p:spPr bwMode="auto">
            <a:xfrm>
              <a:off x="5909056" y="3549415"/>
              <a:ext cx="432000" cy="468000"/>
            </a:xfrm>
            <a:custGeom>
              <a:avLst/>
              <a:gdLst>
                <a:gd name="T0" fmla="*/ 38 w 194"/>
                <a:gd name="T1" fmla="*/ 133 h 202"/>
                <a:gd name="T2" fmla="*/ 100 w 194"/>
                <a:gd name="T3" fmla="*/ 133 h 202"/>
                <a:gd name="T4" fmla="*/ 69 w 194"/>
                <a:gd name="T5" fmla="*/ 154 h 202"/>
                <a:gd name="T6" fmla="*/ 69 w 194"/>
                <a:gd name="T7" fmla="*/ 112 h 202"/>
                <a:gd name="T8" fmla="*/ 69 w 194"/>
                <a:gd name="T9" fmla="*/ 154 h 202"/>
                <a:gd name="T10" fmla="*/ 131 w 194"/>
                <a:gd name="T11" fmla="*/ 97 h 202"/>
                <a:gd name="T12" fmla="*/ 105 w 194"/>
                <a:gd name="T13" fmla="*/ 71 h 202"/>
                <a:gd name="T14" fmla="*/ 69 w 194"/>
                <a:gd name="T15" fmla="*/ 76 h 202"/>
                <a:gd name="T16" fmla="*/ 33 w 194"/>
                <a:gd name="T17" fmla="*/ 71 h 202"/>
                <a:gd name="T18" fmla="*/ 7 w 194"/>
                <a:gd name="T19" fmla="*/ 97 h 202"/>
                <a:gd name="T20" fmla="*/ 13 w 194"/>
                <a:gd name="T21" fmla="*/ 133 h 202"/>
                <a:gd name="T22" fmla="*/ 7 w 194"/>
                <a:gd name="T23" fmla="*/ 168 h 202"/>
                <a:gd name="T24" fmla="*/ 33 w 194"/>
                <a:gd name="T25" fmla="*/ 194 h 202"/>
                <a:gd name="T26" fmla="*/ 69 w 194"/>
                <a:gd name="T27" fmla="*/ 189 h 202"/>
                <a:gd name="T28" fmla="*/ 105 w 194"/>
                <a:gd name="T29" fmla="*/ 194 h 202"/>
                <a:gd name="T30" fmla="*/ 131 w 194"/>
                <a:gd name="T31" fmla="*/ 168 h 202"/>
                <a:gd name="T32" fmla="*/ 125 w 194"/>
                <a:gd name="T33" fmla="*/ 133 h 202"/>
                <a:gd name="T34" fmla="*/ 69 w 194"/>
                <a:gd name="T35" fmla="*/ 167 h 202"/>
                <a:gd name="T36" fmla="*/ 69 w 194"/>
                <a:gd name="T37" fmla="*/ 98 h 202"/>
                <a:gd name="T38" fmla="*/ 69 w 194"/>
                <a:gd name="T39" fmla="*/ 167 h 202"/>
                <a:gd name="T40" fmla="*/ 194 w 194"/>
                <a:gd name="T41" fmla="*/ 29 h 202"/>
                <a:gd name="T42" fmla="*/ 177 w 194"/>
                <a:gd name="T43" fmla="*/ 17 h 202"/>
                <a:gd name="T44" fmla="*/ 165 w 194"/>
                <a:gd name="T45" fmla="*/ 0 h 202"/>
                <a:gd name="T46" fmla="*/ 144 w 194"/>
                <a:gd name="T47" fmla="*/ 0 h 202"/>
                <a:gd name="T48" fmla="*/ 132 w 194"/>
                <a:gd name="T49" fmla="*/ 17 h 202"/>
                <a:gd name="T50" fmla="*/ 115 w 194"/>
                <a:gd name="T51" fmla="*/ 29 h 202"/>
                <a:gd name="T52" fmla="*/ 115 w 194"/>
                <a:gd name="T53" fmla="*/ 51 h 202"/>
                <a:gd name="T54" fmla="*/ 132 w 194"/>
                <a:gd name="T55" fmla="*/ 63 h 202"/>
                <a:gd name="T56" fmla="*/ 144 w 194"/>
                <a:gd name="T57" fmla="*/ 80 h 202"/>
                <a:gd name="T58" fmla="*/ 165 w 194"/>
                <a:gd name="T59" fmla="*/ 80 h 202"/>
                <a:gd name="T60" fmla="*/ 177 w 194"/>
                <a:gd name="T61" fmla="*/ 63 h 202"/>
                <a:gd name="T62" fmla="*/ 194 w 194"/>
                <a:gd name="T63" fmla="*/ 51 h 202"/>
                <a:gd name="T64" fmla="*/ 155 w 194"/>
                <a:gd name="T65" fmla="*/ 57 h 202"/>
                <a:gd name="T66" fmla="*/ 155 w 194"/>
                <a:gd name="T67" fmla="*/ 23 h 202"/>
                <a:gd name="T68" fmla="*/ 155 w 194"/>
                <a:gd name="T69" fmla="*/ 5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202">
                  <a:moveTo>
                    <a:pt x="69" y="102"/>
                  </a:moveTo>
                  <a:cubicBezTo>
                    <a:pt x="52" y="102"/>
                    <a:pt x="38" y="115"/>
                    <a:pt x="38" y="133"/>
                  </a:cubicBezTo>
                  <a:cubicBezTo>
                    <a:pt x="38" y="150"/>
                    <a:pt x="52" y="164"/>
                    <a:pt x="69" y="164"/>
                  </a:cubicBezTo>
                  <a:cubicBezTo>
                    <a:pt x="86" y="164"/>
                    <a:pt x="100" y="150"/>
                    <a:pt x="100" y="133"/>
                  </a:cubicBezTo>
                  <a:cubicBezTo>
                    <a:pt x="100" y="115"/>
                    <a:pt x="86" y="102"/>
                    <a:pt x="69" y="102"/>
                  </a:cubicBezTo>
                  <a:moveTo>
                    <a:pt x="69" y="154"/>
                  </a:moveTo>
                  <a:cubicBezTo>
                    <a:pt x="57" y="154"/>
                    <a:pt x="48" y="144"/>
                    <a:pt x="48" y="133"/>
                  </a:cubicBezTo>
                  <a:cubicBezTo>
                    <a:pt x="48" y="121"/>
                    <a:pt x="57" y="112"/>
                    <a:pt x="69" y="112"/>
                  </a:cubicBezTo>
                  <a:cubicBezTo>
                    <a:pt x="80" y="112"/>
                    <a:pt x="90" y="121"/>
                    <a:pt x="90" y="133"/>
                  </a:cubicBezTo>
                  <a:cubicBezTo>
                    <a:pt x="90" y="144"/>
                    <a:pt x="80" y="154"/>
                    <a:pt x="69" y="154"/>
                  </a:cubicBezTo>
                  <a:moveTo>
                    <a:pt x="138" y="114"/>
                  </a:moveTo>
                  <a:cubicBezTo>
                    <a:pt x="136" y="108"/>
                    <a:pt x="134" y="102"/>
                    <a:pt x="131" y="97"/>
                  </a:cubicBezTo>
                  <a:cubicBezTo>
                    <a:pt x="124" y="100"/>
                    <a:pt x="115" y="99"/>
                    <a:pt x="109" y="93"/>
                  </a:cubicBezTo>
                  <a:cubicBezTo>
                    <a:pt x="103" y="87"/>
                    <a:pt x="101" y="78"/>
                    <a:pt x="105" y="71"/>
                  </a:cubicBezTo>
                  <a:cubicBezTo>
                    <a:pt x="99" y="68"/>
                    <a:pt x="94" y="65"/>
                    <a:pt x="87" y="64"/>
                  </a:cubicBezTo>
                  <a:cubicBezTo>
                    <a:pt x="85" y="71"/>
                    <a:pt x="77" y="76"/>
                    <a:pt x="69" y="76"/>
                  </a:cubicBezTo>
                  <a:cubicBezTo>
                    <a:pt x="60" y="76"/>
                    <a:pt x="53" y="71"/>
                    <a:pt x="51" y="64"/>
                  </a:cubicBezTo>
                  <a:cubicBezTo>
                    <a:pt x="44" y="65"/>
                    <a:pt x="39" y="68"/>
                    <a:pt x="33" y="71"/>
                  </a:cubicBezTo>
                  <a:cubicBezTo>
                    <a:pt x="36" y="78"/>
                    <a:pt x="35" y="87"/>
                    <a:pt x="29" y="93"/>
                  </a:cubicBezTo>
                  <a:cubicBezTo>
                    <a:pt x="23" y="99"/>
                    <a:pt x="14" y="100"/>
                    <a:pt x="7" y="97"/>
                  </a:cubicBezTo>
                  <a:cubicBezTo>
                    <a:pt x="4" y="102"/>
                    <a:pt x="2" y="108"/>
                    <a:pt x="0" y="114"/>
                  </a:cubicBezTo>
                  <a:cubicBezTo>
                    <a:pt x="7" y="117"/>
                    <a:pt x="13" y="124"/>
                    <a:pt x="13" y="133"/>
                  </a:cubicBezTo>
                  <a:cubicBezTo>
                    <a:pt x="13" y="141"/>
                    <a:pt x="7" y="148"/>
                    <a:pt x="0" y="151"/>
                  </a:cubicBezTo>
                  <a:cubicBezTo>
                    <a:pt x="2" y="157"/>
                    <a:pt x="4" y="163"/>
                    <a:pt x="7" y="168"/>
                  </a:cubicBezTo>
                  <a:cubicBezTo>
                    <a:pt x="14" y="165"/>
                    <a:pt x="23" y="166"/>
                    <a:pt x="29" y="172"/>
                  </a:cubicBezTo>
                  <a:cubicBezTo>
                    <a:pt x="35" y="178"/>
                    <a:pt x="36" y="187"/>
                    <a:pt x="33" y="194"/>
                  </a:cubicBezTo>
                  <a:cubicBezTo>
                    <a:pt x="39" y="198"/>
                    <a:pt x="44" y="200"/>
                    <a:pt x="51" y="202"/>
                  </a:cubicBezTo>
                  <a:cubicBezTo>
                    <a:pt x="53" y="194"/>
                    <a:pt x="60" y="189"/>
                    <a:pt x="69" y="189"/>
                  </a:cubicBezTo>
                  <a:cubicBezTo>
                    <a:pt x="77" y="189"/>
                    <a:pt x="85" y="194"/>
                    <a:pt x="87" y="202"/>
                  </a:cubicBezTo>
                  <a:cubicBezTo>
                    <a:pt x="94" y="200"/>
                    <a:pt x="99" y="198"/>
                    <a:pt x="105" y="194"/>
                  </a:cubicBezTo>
                  <a:cubicBezTo>
                    <a:pt x="101" y="187"/>
                    <a:pt x="103" y="178"/>
                    <a:pt x="109" y="172"/>
                  </a:cubicBezTo>
                  <a:cubicBezTo>
                    <a:pt x="115" y="166"/>
                    <a:pt x="124" y="165"/>
                    <a:pt x="131" y="168"/>
                  </a:cubicBezTo>
                  <a:cubicBezTo>
                    <a:pt x="134" y="163"/>
                    <a:pt x="136" y="157"/>
                    <a:pt x="138" y="151"/>
                  </a:cubicBezTo>
                  <a:cubicBezTo>
                    <a:pt x="130" y="148"/>
                    <a:pt x="125" y="141"/>
                    <a:pt x="125" y="133"/>
                  </a:cubicBezTo>
                  <a:cubicBezTo>
                    <a:pt x="125" y="124"/>
                    <a:pt x="130" y="117"/>
                    <a:pt x="138" y="114"/>
                  </a:cubicBezTo>
                  <a:moveTo>
                    <a:pt x="69" y="167"/>
                  </a:moveTo>
                  <a:cubicBezTo>
                    <a:pt x="50" y="167"/>
                    <a:pt x="35" y="152"/>
                    <a:pt x="35" y="133"/>
                  </a:cubicBezTo>
                  <a:cubicBezTo>
                    <a:pt x="35" y="114"/>
                    <a:pt x="50" y="98"/>
                    <a:pt x="69" y="98"/>
                  </a:cubicBezTo>
                  <a:cubicBezTo>
                    <a:pt x="88" y="98"/>
                    <a:pt x="103" y="114"/>
                    <a:pt x="103" y="133"/>
                  </a:cubicBezTo>
                  <a:cubicBezTo>
                    <a:pt x="103" y="152"/>
                    <a:pt x="88" y="167"/>
                    <a:pt x="69" y="167"/>
                  </a:cubicBezTo>
                  <a:moveTo>
                    <a:pt x="187" y="40"/>
                  </a:moveTo>
                  <a:cubicBezTo>
                    <a:pt x="187" y="35"/>
                    <a:pt x="190" y="31"/>
                    <a:pt x="194" y="29"/>
                  </a:cubicBezTo>
                  <a:cubicBezTo>
                    <a:pt x="193" y="26"/>
                    <a:pt x="192" y="22"/>
                    <a:pt x="190" y="19"/>
                  </a:cubicBezTo>
                  <a:cubicBezTo>
                    <a:pt x="186" y="21"/>
                    <a:pt x="181" y="21"/>
                    <a:pt x="177" y="17"/>
                  </a:cubicBezTo>
                  <a:cubicBezTo>
                    <a:pt x="174" y="14"/>
                    <a:pt x="173" y="8"/>
                    <a:pt x="175" y="4"/>
                  </a:cubicBezTo>
                  <a:cubicBezTo>
                    <a:pt x="172" y="2"/>
                    <a:pt x="169" y="1"/>
                    <a:pt x="165" y="0"/>
                  </a:cubicBezTo>
                  <a:cubicBezTo>
                    <a:pt x="164" y="4"/>
                    <a:pt x="159" y="8"/>
                    <a:pt x="155" y="8"/>
                  </a:cubicBezTo>
                  <a:cubicBezTo>
                    <a:pt x="150" y="8"/>
                    <a:pt x="145" y="4"/>
                    <a:pt x="144" y="0"/>
                  </a:cubicBezTo>
                  <a:cubicBezTo>
                    <a:pt x="140" y="1"/>
                    <a:pt x="137" y="2"/>
                    <a:pt x="134" y="4"/>
                  </a:cubicBezTo>
                  <a:cubicBezTo>
                    <a:pt x="136" y="8"/>
                    <a:pt x="135" y="14"/>
                    <a:pt x="132" y="17"/>
                  </a:cubicBezTo>
                  <a:cubicBezTo>
                    <a:pt x="128" y="21"/>
                    <a:pt x="123" y="21"/>
                    <a:pt x="119" y="19"/>
                  </a:cubicBezTo>
                  <a:cubicBezTo>
                    <a:pt x="117" y="22"/>
                    <a:pt x="116" y="26"/>
                    <a:pt x="115" y="29"/>
                  </a:cubicBezTo>
                  <a:cubicBezTo>
                    <a:pt x="119" y="31"/>
                    <a:pt x="122" y="35"/>
                    <a:pt x="122" y="40"/>
                  </a:cubicBezTo>
                  <a:cubicBezTo>
                    <a:pt x="122" y="45"/>
                    <a:pt x="119" y="49"/>
                    <a:pt x="115" y="51"/>
                  </a:cubicBezTo>
                  <a:cubicBezTo>
                    <a:pt x="116" y="54"/>
                    <a:pt x="117" y="58"/>
                    <a:pt x="119" y="61"/>
                  </a:cubicBezTo>
                  <a:cubicBezTo>
                    <a:pt x="123" y="59"/>
                    <a:pt x="128" y="59"/>
                    <a:pt x="132" y="63"/>
                  </a:cubicBezTo>
                  <a:cubicBezTo>
                    <a:pt x="135" y="66"/>
                    <a:pt x="136" y="72"/>
                    <a:pt x="134" y="76"/>
                  </a:cubicBezTo>
                  <a:cubicBezTo>
                    <a:pt x="137" y="78"/>
                    <a:pt x="140" y="79"/>
                    <a:pt x="144" y="80"/>
                  </a:cubicBezTo>
                  <a:cubicBezTo>
                    <a:pt x="145" y="76"/>
                    <a:pt x="150" y="72"/>
                    <a:pt x="155" y="72"/>
                  </a:cubicBezTo>
                  <a:cubicBezTo>
                    <a:pt x="159" y="72"/>
                    <a:pt x="164" y="76"/>
                    <a:pt x="165" y="80"/>
                  </a:cubicBezTo>
                  <a:cubicBezTo>
                    <a:pt x="169" y="79"/>
                    <a:pt x="172" y="78"/>
                    <a:pt x="175" y="76"/>
                  </a:cubicBezTo>
                  <a:cubicBezTo>
                    <a:pt x="173" y="72"/>
                    <a:pt x="174" y="66"/>
                    <a:pt x="177" y="63"/>
                  </a:cubicBezTo>
                  <a:cubicBezTo>
                    <a:pt x="181" y="59"/>
                    <a:pt x="186" y="59"/>
                    <a:pt x="190" y="61"/>
                  </a:cubicBezTo>
                  <a:cubicBezTo>
                    <a:pt x="192" y="58"/>
                    <a:pt x="193" y="54"/>
                    <a:pt x="194" y="51"/>
                  </a:cubicBezTo>
                  <a:cubicBezTo>
                    <a:pt x="190" y="49"/>
                    <a:pt x="187" y="45"/>
                    <a:pt x="187" y="40"/>
                  </a:cubicBezTo>
                  <a:moveTo>
                    <a:pt x="155" y="57"/>
                  </a:moveTo>
                  <a:cubicBezTo>
                    <a:pt x="145" y="57"/>
                    <a:pt x="137" y="49"/>
                    <a:pt x="137" y="40"/>
                  </a:cubicBezTo>
                  <a:cubicBezTo>
                    <a:pt x="137" y="31"/>
                    <a:pt x="145" y="23"/>
                    <a:pt x="155" y="23"/>
                  </a:cubicBezTo>
                  <a:cubicBezTo>
                    <a:pt x="164" y="23"/>
                    <a:pt x="172" y="31"/>
                    <a:pt x="172" y="40"/>
                  </a:cubicBezTo>
                  <a:cubicBezTo>
                    <a:pt x="172" y="49"/>
                    <a:pt x="164" y="57"/>
                    <a:pt x="155" y="57"/>
                  </a:cubicBezTo>
                </a:path>
              </a:pathLst>
            </a:custGeom>
            <a:solidFill>
              <a:srgbClr val="7C7E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9" name="Freeform 62">
              <a:extLst>
                <a:ext uri="{FF2B5EF4-FFF2-40B4-BE49-F238E27FC236}">
                  <a16:creationId xmlns:a16="http://schemas.microsoft.com/office/drawing/2014/main" id="{3E2F65E3-56EB-5525-3278-D87C4B2F5F19}"/>
                </a:ext>
              </a:extLst>
            </p:cNvPr>
            <p:cNvSpPr>
              <a:spLocks noEditPoints="1"/>
            </p:cNvSpPr>
            <p:nvPr/>
          </p:nvSpPr>
          <p:spPr bwMode="auto">
            <a:xfrm>
              <a:off x="7174645" y="5244888"/>
              <a:ext cx="345843" cy="365105"/>
            </a:xfrm>
            <a:custGeom>
              <a:avLst/>
              <a:gdLst>
                <a:gd name="T0" fmla="*/ 0 w 395"/>
                <a:gd name="T1" fmla="*/ 303 h 417"/>
                <a:gd name="T2" fmla="*/ 86 w 395"/>
                <a:gd name="T3" fmla="*/ 303 h 417"/>
                <a:gd name="T4" fmla="*/ 86 w 395"/>
                <a:gd name="T5" fmla="*/ 417 h 417"/>
                <a:gd name="T6" fmla="*/ 0 w 395"/>
                <a:gd name="T7" fmla="*/ 417 h 417"/>
                <a:gd name="T8" fmla="*/ 0 w 395"/>
                <a:gd name="T9" fmla="*/ 303 h 417"/>
                <a:gd name="T10" fmla="*/ 156 w 395"/>
                <a:gd name="T11" fmla="*/ 417 h 417"/>
                <a:gd name="T12" fmla="*/ 241 w 395"/>
                <a:gd name="T13" fmla="*/ 417 h 417"/>
                <a:gd name="T14" fmla="*/ 241 w 395"/>
                <a:gd name="T15" fmla="*/ 247 h 417"/>
                <a:gd name="T16" fmla="*/ 156 w 395"/>
                <a:gd name="T17" fmla="*/ 247 h 417"/>
                <a:gd name="T18" fmla="*/ 156 w 395"/>
                <a:gd name="T19" fmla="*/ 417 h 417"/>
                <a:gd name="T20" fmla="*/ 310 w 395"/>
                <a:gd name="T21" fmla="*/ 152 h 417"/>
                <a:gd name="T22" fmla="*/ 310 w 395"/>
                <a:gd name="T23" fmla="*/ 417 h 417"/>
                <a:gd name="T24" fmla="*/ 395 w 395"/>
                <a:gd name="T25" fmla="*/ 417 h 417"/>
                <a:gd name="T26" fmla="*/ 395 w 395"/>
                <a:gd name="T27" fmla="*/ 152 h 417"/>
                <a:gd name="T28" fmla="*/ 310 w 395"/>
                <a:gd name="T29" fmla="*/ 152 h 417"/>
                <a:gd name="T30" fmla="*/ 319 w 395"/>
                <a:gd name="T31" fmla="*/ 62 h 417"/>
                <a:gd name="T32" fmla="*/ 338 w 395"/>
                <a:gd name="T33" fmla="*/ 83 h 417"/>
                <a:gd name="T34" fmla="*/ 360 w 395"/>
                <a:gd name="T35" fmla="*/ 0 h 417"/>
                <a:gd name="T36" fmla="*/ 279 w 395"/>
                <a:gd name="T37" fmla="*/ 22 h 417"/>
                <a:gd name="T38" fmla="*/ 298 w 395"/>
                <a:gd name="T39" fmla="*/ 43 h 417"/>
                <a:gd name="T40" fmla="*/ 190 w 395"/>
                <a:gd name="T41" fmla="*/ 152 h 417"/>
                <a:gd name="T42" fmla="*/ 119 w 395"/>
                <a:gd name="T43" fmla="*/ 83 h 417"/>
                <a:gd name="T44" fmla="*/ 12 w 395"/>
                <a:gd name="T45" fmla="*/ 190 h 417"/>
                <a:gd name="T46" fmla="*/ 34 w 395"/>
                <a:gd name="T47" fmla="*/ 209 h 417"/>
                <a:gd name="T48" fmla="*/ 119 w 395"/>
                <a:gd name="T49" fmla="*/ 123 h 417"/>
                <a:gd name="T50" fmla="*/ 190 w 395"/>
                <a:gd name="T51" fmla="*/ 192 h 417"/>
                <a:gd name="T52" fmla="*/ 319 w 395"/>
                <a:gd name="T53" fmla="*/ 6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5" h="417">
                  <a:moveTo>
                    <a:pt x="0" y="303"/>
                  </a:moveTo>
                  <a:lnTo>
                    <a:pt x="86" y="303"/>
                  </a:lnTo>
                  <a:lnTo>
                    <a:pt x="86" y="417"/>
                  </a:lnTo>
                  <a:lnTo>
                    <a:pt x="0" y="417"/>
                  </a:lnTo>
                  <a:lnTo>
                    <a:pt x="0" y="303"/>
                  </a:lnTo>
                  <a:close/>
                  <a:moveTo>
                    <a:pt x="156" y="417"/>
                  </a:moveTo>
                  <a:lnTo>
                    <a:pt x="241" y="417"/>
                  </a:lnTo>
                  <a:lnTo>
                    <a:pt x="241" y="247"/>
                  </a:lnTo>
                  <a:lnTo>
                    <a:pt x="156" y="247"/>
                  </a:lnTo>
                  <a:lnTo>
                    <a:pt x="156" y="417"/>
                  </a:lnTo>
                  <a:close/>
                  <a:moveTo>
                    <a:pt x="310" y="152"/>
                  </a:moveTo>
                  <a:lnTo>
                    <a:pt x="310" y="417"/>
                  </a:lnTo>
                  <a:lnTo>
                    <a:pt x="395" y="417"/>
                  </a:lnTo>
                  <a:lnTo>
                    <a:pt x="395" y="152"/>
                  </a:lnTo>
                  <a:lnTo>
                    <a:pt x="310" y="152"/>
                  </a:lnTo>
                  <a:close/>
                  <a:moveTo>
                    <a:pt x="319" y="62"/>
                  </a:moveTo>
                  <a:lnTo>
                    <a:pt x="338" y="83"/>
                  </a:lnTo>
                  <a:lnTo>
                    <a:pt x="360" y="0"/>
                  </a:lnTo>
                  <a:lnTo>
                    <a:pt x="279" y="22"/>
                  </a:lnTo>
                  <a:lnTo>
                    <a:pt x="298" y="43"/>
                  </a:lnTo>
                  <a:lnTo>
                    <a:pt x="190" y="152"/>
                  </a:lnTo>
                  <a:lnTo>
                    <a:pt x="119" y="83"/>
                  </a:lnTo>
                  <a:lnTo>
                    <a:pt x="12" y="190"/>
                  </a:lnTo>
                  <a:lnTo>
                    <a:pt x="34" y="209"/>
                  </a:lnTo>
                  <a:lnTo>
                    <a:pt x="119" y="123"/>
                  </a:lnTo>
                  <a:lnTo>
                    <a:pt x="190" y="192"/>
                  </a:lnTo>
                  <a:lnTo>
                    <a:pt x="319" y="62"/>
                  </a:lnTo>
                  <a:close/>
                </a:path>
              </a:pathLst>
            </a:custGeom>
            <a:solidFill>
              <a:srgbClr val="62588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27DCD22B-DFE3-BEFF-A1CD-25B42E14EC84}"/>
                </a:ext>
              </a:extLst>
            </p:cNvPr>
            <p:cNvSpPr txBox="1"/>
            <p:nvPr/>
          </p:nvSpPr>
          <p:spPr>
            <a:xfrm>
              <a:off x="5573816" y="3047204"/>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C7E80"/>
                  </a:solidFill>
                  <a:effectLst/>
                  <a:uLnTx/>
                  <a:uFillTx/>
                  <a:latin typeface="Calibri"/>
                  <a:ea typeface="+mn-ea"/>
                  <a:cs typeface="+mn-cs"/>
                </a:rPr>
                <a:t>EXECUTION</a:t>
              </a:r>
            </a:p>
          </p:txBody>
        </p:sp>
        <p:sp>
          <p:nvSpPr>
            <p:cNvPr id="91" name="TextBox 90">
              <a:extLst>
                <a:ext uri="{FF2B5EF4-FFF2-40B4-BE49-F238E27FC236}">
                  <a16:creationId xmlns:a16="http://schemas.microsoft.com/office/drawing/2014/main" id="{4E78C206-72C3-EE90-ABFC-F9BB6C08D123}"/>
                </a:ext>
              </a:extLst>
            </p:cNvPr>
            <p:cNvSpPr txBox="1"/>
            <p:nvPr/>
          </p:nvSpPr>
          <p:spPr>
            <a:xfrm>
              <a:off x="3136606" y="3056729"/>
              <a:ext cx="10572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396A0"/>
                  </a:solidFill>
                  <a:effectLst/>
                  <a:uLnTx/>
                  <a:uFillTx/>
                  <a:latin typeface="Calibri"/>
                  <a:ea typeface="+mn-ea"/>
                  <a:cs typeface="+mn-cs"/>
                </a:rPr>
                <a:t>INITIATION</a:t>
              </a:r>
            </a:p>
          </p:txBody>
        </p:sp>
        <p:sp>
          <p:nvSpPr>
            <p:cNvPr id="92" name="Freeform 64">
              <a:extLst>
                <a:ext uri="{FF2B5EF4-FFF2-40B4-BE49-F238E27FC236}">
                  <a16:creationId xmlns:a16="http://schemas.microsoft.com/office/drawing/2014/main" id="{73599444-762D-FDCC-3486-151FC4041465}"/>
                </a:ext>
              </a:extLst>
            </p:cNvPr>
            <p:cNvSpPr>
              <a:spLocks noEditPoints="1"/>
            </p:cNvSpPr>
            <p:nvPr/>
          </p:nvSpPr>
          <p:spPr bwMode="auto">
            <a:xfrm>
              <a:off x="4681036" y="5228253"/>
              <a:ext cx="418514" cy="398376"/>
            </a:xfrm>
            <a:custGeom>
              <a:avLst/>
              <a:gdLst>
                <a:gd name="T0" fmla="*/ 43 w 202"/>
                <a:gd name="T1" fmla="*/ 118 h 192"/>
                <a:gd name="T2" fmla="*/ 29 w 202"/>
                <a:gd name="T3" fmla="*/ 88 h 192"/>
                <a:gd name="T4" fmla="*/ 69 w 202"/>
                <a:gd name="T5" fmla="*/ 77 h 192"/>
                <a:gd name="T6" fmla="*/ 49 w 202"/>
                <a:gd name="T7" fmla="*/ 145 h 192"/>
                <a:gd name="T8" fmla="*/ 49 w 202"/>
                <a:gd name="T9" fmla="*/ 47 h 192"/>
                <a:gd name="T10" fmla="*/ 49 w 202"/>
                <a:gd name="T11" fmla="*/ 145 h 192"/>
                <a:gd name="T12" fmla="*/ 86 w 202"/>
                <a:gd name="T13" fmla="*/ 96 h 192"/>
                <a:gd name="T14" fmla="*/ 12 w 202"/>
                <a:gd name="T15" fmla="*/ 96 h 192"/>
                <a:gd name="T16" fmla="*/ 177 w 202"/>
                <a:gd name="T17" fmla="*/ 76 h 192"/>
                <a:gd name="T18" fmla="*/ 102 w 202"/>
                <a:gd name="T19" fmla="*/ 84 h 192"/>
                <a:gd name="T20" fmla="*/ 177 w 202"/>
                <a:gd name="T21" fmla="*/ 76 h 192"/>
                <a:gd name="T22" fmla="*/ 94 w 202"/>
                <a:gd name="T23" fmla="*/ 51 h 192"/>
                <a:gd name="T24" fmla="*/ 153 w 202"/>
                <a:gd name="T25" fmla="*/ 59 h 192"/>
                <a:gd name="T26" fmla="*/ 202 w 202"/>
                <a:gd name="T27" fmla="*/ 49 h 192"/>
                <a:gd name="T28" fmla="*/ 192 w 202"/>
                <a:gd name="T29" fmla="*/ 192 h 192"/>
                <a:gd name="T30" fmla="*/ 45 w 202"/>
                <a:gd name="T31" fmla="*/ 182 h 192"/>
                <a:gd name="T32" fmla="*/ 49 w 202"/>
                <a:gd name="T33" fmla="*/ 151 h 192"/>
                <a:gd name="T34" fmla="*/ 57 w 202"/>
                <a:gd name="T35" fmla="*/ 180 h 192"/>
                <a:gd name="T36" fmla="*/ 190 w 202"/>
                <a:gd name="T37" fmla="*/ 55 h 192"/>
                <a:gd name="T38" fmla="*/ 147 w 202"/>
                <a:gd name="T39" fmla="*/ 39 h 192"/>
                <a:gd name="T40" fmla="*/ 57 w 202"/>
                <a:gd name="T41" fmla="*/ 12 h 192"/>
                <a:gd name="T42" fmla="*/ 49 w 202"/>
                <a:gd name="T43" fmla="*/ 41 h 192"/>
                <a:gd name="T44" fmla="*/ 45 w 202"/>
                <a:gd name="T45" fmla="*/ 10 h 192"/>
                <a:gd name="T46" fmla="*/ 153 w 202"/>
                <a:gd name="T47" fmla="*/ 0 h 192"/>
                <a:gd name="T48" fmla="*/ 157 w 202"/>
                <a:gd name="T49" fmla="*/ 1 h 192"/>
                <a:gd name="T50" fmla="*/ 202 w 202"/>
                <a:gd name="T51" fmla="*/ 49 h 192"/>
                <a:gd name="T52" fmla="*/ 182 w 202"/>
                <a:gd name="T53" fmla="*/ 43 h 192"/>
                <a:gd name="T54" fmla="*/ 159 w 202"/>
                <a:gd name="T55" fmla="*/ 39 h 192"/>
                <a:gd name="T56" fmla="*/ 182 w 202"/>
                <a:gd name="T57" fmla="*/ 43 h 192"/>
                <a:gd name="T58" fmla="*/ 137 w 202"/>
                <a:gd name="T59" fmla="*/ 158 h 192"/>
                <a:gd name="T60" fmla="*/ 70 w 202"/>
                <a:gd name="T61" fmla="*/ 150 h 192"/>
                <a:gd name="T62" fmla="*/ 177 w 202"/>
                <a:gd name="T63" fmla="*/ 101 h 192"/>
                <a:gd name="T64" fmla="*/ 102 w 202"/>
                <a:gd name="T65" fmla="*/ 109 h 192"/>
                <a:gd name="T66" fmla="*/ 177 w 202"/>
                <a:gd name="T67" fmla="*/ 101 h 192"/>
                <a:gd name="T68" fmla="*/ 95 w 202"/>
                <a:gd name="T69" fmla="*/ 125 h 192"/>
                <a:gd name="T70" fmla="*/ 177 w 202"/>
                <a:gd name="T71"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92">
                  <a:moveTo>
                    <a:pt x="78" y="87"/>
                  </a:moveTo>
                  <a:cubicBezTo>
                    <a:pt x="43" y="118"/>
                    <a:pt x="43" y="118"/>
                    <a:pt x="43" y="118"/>
                  </a:cubicBezTo>
                  <a:cubicBezTo>
                    <a:pt x="20" y="99"/>
                    <a:pt x="20" y="99"/>
                    <a:pt x="20" y="99"/>
                  </a:cubicBezTo>
                  <a:cubicBezTo>
                    <a:pt x="29" y="88"/>
                    <a:pt x="29" y="88"/>
                    <a:pt x="29" y="88"/>
                  </a:cubicBezTo>
                  <a:cubicBezTo>
                    <a:pt x="43" y="100"/>
                    <a:pt x="43" y="100"/>
                    <a:pt x="43" y="100"/>
                  </a:cubicBezTo>
                  <a:cubicBezTo>
                    <a:pt x="69" y="77"/>
                    <a:pt x="69" y="77"/>
                    <a:pt x="69" y="77"/>
                  </a:cubicBezTo>
                  <a:lnTo>
                    <a:pt x="78" y="87"/>
                  </a:lnTo>
                  <a:close/>
                  <a:moveTo>
                    <a:pt x="49" y="145"/>
                  </a:moveTo>
                  <a:cubicBezTo>
                    <a:pt x="22" y="145"/>
                    <a:pt x="0" y="123"/>
                    <a:pt x="0" y="96"/>
                  </a:cubicBezTo>
                  <a:cubicBezTo>
                    <a:pt x="0" y="69"/>
                    <a:pt x="22" y="47"/>
                    <a:pt x="49" y="47"/>
                  </a:cubicBezTo>
                  <a:cubicBezTo>
                    <a:pt x="76" y="47"/>
                    <a:pt x="98" y="69"/>
                    <a:pt x="98" y="96"/>
                  </a:cubicBezTo>
                  <a:cubicBezTo>
                    <a:pt x="98" y="123"/>
                    <a:pt x="76" y="145"/>
                    <a:pt x="49" y="145"/>
                  </a:cubicBezTo>
                  <a:moveTo>
                    <a:pt x="49" y="133"/>
                  </a:moveTo>
                  <a:cubicBezTo>
                    <a:pt x="69" y="133"/>
                    <a:pt x="86" y="116"/>
                    <a:pt x="86" y="96"/>
                  </a:cubicBezTo>
                  <a:cubicBezTo>
                    <a:pt x="86" y="76"/>
                    <a:pt x="69" y="59"/>
                    <a:pt x="49" y="59"/>
                  </a:cubicBezTo>
                  <a:cubicBezTo>
                    <a:pt x="29" y="59"/>
                    <a:pt x="12" y="76"/>
                    <a:pt x="12" y="96"/>
                  </a:cubicBezTo>
                  <a:cubicBezTo>
                    <a:pt x="12" y="116"/>
                    <a:pt x="29" y="133"/>
                    <a:pt x="49" y="133"/>
                  </a:cubicBezTo>
                  <a:moveTo>
                    <a:pt x="177" y="76"/>
                  </a:moveTo>
                  <a:cubicBezTo>
                    <a:pt x="100" y="76"/>
                    <a:pt x="100" y="76"/>
                    <a:pt x="100" y="76"/>
                  </a:cubicBezTo>
                  <a:cubicBezTo>
                    <a:pt x="101" y="79"/>
                    <a:pt x="102" y="81"/>
                    <a:pt x="102" y="84"/>
                  </a:cubicBezTo>
                  <a:cubicBezTo>
                    <a:pt x="177" y="84"/>
                    <a:pt x="177" y="84"/>
                    <a:pt x="177" y="84"/>
                  </a:cubicBezTo>
                  <a:lnTo>
                    <a:pt x="177" y="76"/>
                  </a:lnTo>
                  <a:close/>
                  <a:moveTo>
                    <a:pt x="144" y="51"/>
                  </a:moveTo>
                  <a:cubicBezTo>
                    <a:pt x="94" y="51"/>
                    <a:pt x="94" y="51"/>
                    <a:pt x="94" y="51"/>
                  </a:cubicBezTo>
                  <a:cubicBezTo>
                    <a:pt x="94" y="59"/>
                    <a:pt x="94" y="59"/>
                    <a:pt x="94" y="59"/>
                  </a:cubicBezTo>
                  <a:cubicBezTo>
                    <a:pt x="153" y="59"/>
                    <a:pt x="153" y="59"/>
                    <a:pt x="153" y="59"/>
                  </a:cubicBezTo>
                  <a:cubicBezTo>
                    <a:pt x="150" y="58"/>
                    <a:pt x="147" y="55"/>
                    <a:pt x="144" y="51"/>
                  </a:cubicBezTo>
                  <a:moveTo>
                    <a:pt x="202" y="49"/>
                  </a:moveTo>
                  <a:cubicBezTo>
                    <a:pt x="202" y="182"/>
                    <a:pt x="202" y="182"/>
                    <a:pt x="202" y="182"/>
                  </a:cubicBezTo>
                  <a:cubicBezTo>
                    <a:pt x="202" y="188"/>
                    <a:pt x="198" y="192"/>
                    <a:pt x="192" y="192"/>
                  </a:cubicBezTo>
                  <a:cubicBezTo>
                    <a:pt x="55" y="192"/>
                    <a:pt x="55" y="192"/>
                    <a:pt x="55" y="192"/>
                  </a:cubicBezTo>
                  <a:cubicBezTo>
                    <a:pt x="49" y="192"/>
                    <a:pt x="45" y="188"/>
                    <a:pt x="45" y="182"/>
                  </a:cubicBezTo>
                  <a:cubicBezTo>
                    <a:pt x="45" y="151"/>
                    <a:pt x="45" y="151"/>
                    <a:pt x="45" y="151"/>
                  </a:cubicBezTo>
                  <a:cubicBezTo>
                    <a:pt x="46" y="151"/>
                    <a:pt x="48" y="151"/>
                    <a:pt x="49" y="151"/>
                  </a:cubicBezTo>
                  <a:cubicBezTo>
                    <a:pt x="52" y="151"/>
                    <a:pt x="54" y="150"/>
                    <a:pt x="57" y="150"/>
                  </a:cubicBezTo>
                  <a:cubicBezTo>
                    <a:pt x="57" y="180"/>
                    <a:pt x="57" y="180"/>
                    <a:pt x="57" y="180"/>
                  </a:cubicBezTo>
                  <a:cubicBezTo>
                    <a:pt x="190" y="180"/>
                    <a:pt x="190" y="180"/>
                    <a:pt x="190" y="180"/>
                  </a:cubicBezTo>
                  <a:cubicBezTo>
                    <a:pt x="190" y="55"/>
                    <a:pt x="190" y="55"/>
                    <a:pt x="190" y="55"/>
                  </a:cubicBezTo>
                  <a:cubicBezTo>
                    <a:pt x="163" y="55"/>
                    <a:pt x="163" y="55"/>
                    <a:pt x="163" y="55"/>
                  </a:cubicBezTo>
                  <a:cubicBezTo>
                    <a:pt x="154" y="55"/>
                    <a:pt x="147" y="48"/>
                    <a:pt x="147" y="39"/>
                  </a:cubicBezTo>
                  <a:cubicBezTo>
                    <a:pt x="147" y="12"/>
                    <a:pt x="147" y="12"/>
                    <a:pt x="147" y="12"/>
                  </a:cubicBezTo>
                  <a:cubicBezTo>
                    <a:pt x="57" y="12"/>
                    <a:pt x="57" y="12"/>
                    <a:pt x="57" y="12"/>
                  </a:cubicBezTo>
                  <a:cubicBezTo>
                    <a:pt x="57" y="42"/>
                    <a:pt x="57" y="42"/>
                    <a:pt x="57" y="42"/>
                  </a:cubicBezTo>
                  <a:cubicBezTo>
                    <a:pt x="54" y="42"/>
                    <a:pt x="52" y="41"/>
                    <a:pt x="49" y="41"/>
                  </a:cubicBezTo>
                  <a:cubicBezTo>
                    <a:pt x="48" y="41"/>
                    <a:pt x="46" y="41"/>
                    <a:pt x="45" y="42"/>
                  </a:cubicBezTo>
                  <a:cubicBezTo>
                    <a:pt x="45" y="10"/>
                    <a:pt x="45" y="10"/>
                    <a:pt x="45" y="10"/>
                  </a:cubicBezTo>
                  <a:cubicBezTo>
                    <a:pt x="45" y="4"/>
                    <a:pt x="49" y="0"/>
                    <a:pt x="55" y="0"/>
                  </a:cubicBezTo>
                  <a:cubicBezTo>
                    <a:pt x="153" y="0"/>
                    <a:pt x="153" y="0"/>
                    <a:pt x="153" y="0"/>
                  </a:cubicBezTo>
                  <a:cubicBezTo>
                    <a:pt x="153" y="0"/>
                    <a:pt x="153" y="0"/>
                    <a:pt x="153" y="0"/>
                  </a:cubicBezTo>
                  <a:cubicBezTo>
                    <a:pt x="155" y="0"/>
                    <a:pt x="156" y="0"/>
                    <a:pt x="157" y="1"/>
                  </a:cubicBezTo>
                  <a:cubicBezTo>
                    <a:pt x="200" y="44"/>
                    <a:pt x="200" y="44"/>
                    <a:pt x="200" y="44"/>
                  </a:cubicBezTo>
                  <a:cubicBezTo>
                    <a:pt x="202" y="46"/>
                    <a:pt x="202" y="46"/>
                    <a:pt x="202" y="49"/>
                  </a:cubicBezTo>
                  <a:cubicBezTo>
                    <a:pt x="202" y="49"/>
                    <a:pt x="202" y="49"/>
                    <a:pt x="202" y="49"/>
                  </a:cubicBezTo>
                  <a:moveTo>
                    <a:pt x="182" y="43"/>
                  </a:moveTo>
                  <a:cubicBezTo>
                    <a:pt x="159" y="20"/>
                    <a:pt x="159" y="20"/>
                    <a:pt x="159" y="20"/>
                  </a:cubicBezTo>
                  <a:cubicBezTo>
                    <a:pt x="159" y="39"/>
                    <a:pt x="159" y="39"/>
                    <a:pt x="159" y="39"/>
                  </a:cubicBezTo>
                  <a:cubicBezTo>
                    <a:pt x="159" y="42"/>
                    <a:pt x="161" y="43"/>
                    <a:pt x="163" y="43"/>
                  </a:cubicBezTo>
                  <a:lnTo>
                    <a:pt x="182" y="43"/>
                  </a:lnTo>
                  <a:close/>
                  <a:moveTo>
                    <a:pt x="70" y="158"/>
                  </a:moveTo>
                  <a:cubicBezTo>
                    <a:pt x="137" y="158"/>
                    <a:pt x="137" y="158"/>
                    <a:pt x="137" y="158"/>
                  </a:cubicBezTo>
                  <a:cubicBezTo>
                    <a:pt x="137" y="150"/>
                    <a:pt x="137" y="150"/>
                    <a:pt x="137" y="150"/>
                  </a:cubicBezTo>
                  <a:cubicBezTo>
                    <a:pt x="70" y="150"/>
                    <a:pt x="70" y="150"/>
                    <a:pt x="70" y="150"/>
                  </a:cubicBezTo>
                  <a:lnTo>
                    <a:pt x="70" y="158"/>
                  </a:lnTo>
                  <a:close/>
                  <a:moveTo>
                    <a:pt x="177" y="101"/>
                  </a:moveTo>
                  <a:cubicBezTo>
                    <a:pt x="103" y="101"/>
                    <a:pt x="103" y="101"/>
                    <a:pt x="103" y="101"/>
                  </a:cubicBezTo>
                  <a:cubicBezTo>
                    <a:pt x="103" y="103"/>
                    <a:pt x="103" y="106"/>
                    <a:pt x="102" y="109"/>
                  </a:cubicBezTo>
                  <a:cubicBezTo>
                    <a:pt x="177" y="109"/>
                    <a:pt x="177" y="109"/>
                    <a:pt x="177" y="109"/>
                  </a:cubicBezTo>
                  <a:lnTo>
                    <a:pt x="177" y="101"/>
                  </a:lnTo>
                  <a:close/>
                  <a:moveTo>
                    <a:pt x="177" y="125"/>
                  </a:moveTo>
                  <a:cubicBezTo>
                    <a:pt x="95" y="125"/>
                    <a:pt x="95" y="125"/>
                    <a:pt x="95" y="125"/>
                  </a:cubicBezTo>
                  <a:cubicBezTo>
                    <a:pt x="93" y="128"/>
                    <a:pt x="91" y="131"/>
                    <a:pt x="89" y="133"/>
                  </a:cubicBezTo>
                  <a:cubicBezTo>
                    <a:pt x="177" y="133"/>
                    <a:pt x="177" y="133"/>
                    <a:pt x="177" y="133"/>
                  </a:cubicBezTo>
                  <a:lnTo>
                    <a:pt x="177" y="125"/>
                  </a:lnTo>
                  <a:close/>
                </a:path>
              </a:pathLst>
            </a:custGeom>
            <a:solidFill>
              <a:srgbClr val="3038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FC0246BD-C7FB-2EEC-348C-3761A8D9FA30}"/>
                </a:ext>
              </a:extLst>
            </p:cNvPr>
            <p:cNvSpPr txBox="1"/>
            <p:nvPr/>
          </p:nvSpPr>
          <p:spPr>
            <a:xfrm>
              <a:off x="3930132" y="5895554"/>
              <a:ext cx="19331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03841"/>
                  </a:solidFill>
                  <a:effectLst/>
                  <a:uLnTx/>
                  <a:uFillTx/>
                  <a:latin typeface="Calibri"/>
                  <a:ea typeface="+mn-ea"/>
                  <a:cs typeface="+mn-cs"/>
                </a:rPr>
                <a:t>PLANNING</a:t>
              </a:r>
            </a:p>
          </p:txBody>
        </p:sp>
        <p:sp>
          <p:nvSpPr>
            <p:cNvPr id="95" name="Freeform: Shape 76">
              <a:extLst>
                <a:ext uri="{FF2B5EF4-FFF2-40B4-BE49-F238E27FC236}">
                  <a16:creationId xmlns:a16="http://schemas.microsoft.com/office/drawing/2014/main" id="{3C785E0F-9527-02FA-F99A-1A084D7F46F5}"/>
                </a:ext>
              </a:extLst>
            </p:cNvPr>
            <p:cNvSpPr>
              <a:spLocks noChangeAspect="1"/>
            </p:cNvSpPr>
            <p:nvPr/>
          </p:nvSpPr>
          <p:spPr>
            <a:xfrm>
              <a:off x="3477183" y="3612894"/>
              <a:ext cx="390410" cy="388135"/>
            </a:xfrm>
            <a:custGeom>
              <a:avLst/>
              <a:gdLst>
                <a:gd name="connsiteX0" fmla="*/ 95821 w 4876773"/>
                <a:gd name="connsiteY0" fmla="*/ 4656712 h 4848355"/>
                <a:gd name="connsiteX1" fmla="*/ 191643 w 4876773"/>
                <a:gd name="connsiteY1" fmla="*/ 4752533 h 4848355"/>
                <a:gd name="connsiteX2" fmla="*/ 95821 w 4876773"/>
                <a:gd name="connsiteY2" fmla="*/ 4848355 h 4848355"/>
                <a:gd name="connsiteX3" fmla="*/ 0 w 4876773"/>
                <a:gd name="connsiteY3" fmla="*/ 4752533 h 4848355"/>
                <a:gd name="connsiteX4" fmla="*/ 95821 w 4876773"/>
                <a:gd name="connsiteY4" fmla="*/ 4656712 h 4848355"/>
                <a:gd name="connsiteX5" fmla="*/ 862291 w 4876773"/>
                <a:gd name="connsiteY5" fmla="*/ 3611335 h 4848355"/>
                <a:gd name="connsiteX6" fmla="*/ 953844 w 4876773"/>
                <a:gd name="connsiteY6" fmla="*/ 3664178 h 4848355"/>
                <a:gd name="connsiteX7" fmla="*/ 910867 w 4876773"/>
                <a:gd name="connsiteY7" fmla="*/ 3792404 h 4848355"/>
                <a:gd name="connsiteX8" fmla="*/ 682133 w 4876773"/>
                <a:gd name="connsiteY8" fmla="*/ 3906304 h 4848355"/>
                <a:gd name="connsiteX9" fmla="*/ 508597 w 4876773"/>
                <a:gd name="connsiteY9" fmla="*/ 4166298 h 4848355"/>
                <a:gd name="connsiteX10" fmla="*/ 499530 w 4876773"/>
                <a:gd name="connsiteY10" fmla="*/ 4298762 h 4848355"/>
                <a:gd name="connsiteX11" fmla="*/ 515998 w 4876773"/>
                <a:gd name="connsiteY11" fmla="*/ 4342701 h 4848355"/>
                <a:gd name="connsiteX12" fmla="*/ 559928 w 4876773"/>
                <a:gd name="connsiteY12" fmla="*/ 4359170 h 4848355"/>
                <a:gd name="connsiteX13" fmla="*/ 692401 w 4876773"/>
                <a:gd name="connsiteY13" fmla="*/ 4350102 h 4848355"/>
                <a:gd name="connsiteX14" fmla="*/ 952396 w 4876773"/>
                <a:gd name="connsiteY14" fmla="*/ 4176566 h 4848355"/>
                <a:gd name="connsiteX15" fmla="*/ 1066296 w 4876773"/>
                <a:gd name="connsiteY15" fmla="*/ 3947823 h 4848355"/>
                <a:gd name="connsiteX16" fmla="*/ 1194521 w 4876773"/>
                <a:gd name="connsiteY16" fmla="*/ 3904847 h 4848355"/>
                <a:gd name="connsiteX17" fmla="*/ 1237488 w 4876773"/>
                <a:gd name="connsiteY17" fmla="*/ 4033072 h 4848355"/>
                <a:gd name="connsiteX18" fmla="*/ 1123589 w 4876773"/>
                <a:gd name="connsiteY18" fmla="*/ 4261805 h 4848355"/>
                <a:gd name="connsiteX19" fmla="*/ 705460 w 4876773"/>
                <a:gd name="connsiteY19" fmla="*/ 4540907 h 4848355"/>
                <a:gd name="connsiteX20" fmla="*/ 572986 w 4876773"/>
                <a:gd name="connsiteY20" fmla="*/ 4549975 h 4848355"/>
                <a:gd name="connsiteX21" fmla="*/ 556032 w 4876773"/>
                <a:gd name="connsiteY21" fmla="*/ 4550556 h 4848355"/>
                <a:gd name="connsiteX22" fmla="*/ 380743 w 4876773"/>
                <a:gd name="connsiteY22" fmla="*/ 4477937 h 4848355"/>
                <a:gd name="connsiteX23" fmla="*/ 308715 w 4876773"/>
                <a:gd name="connsiteY23" fmla="*/ 4285694 h 4848355"/>
                <a:gd name="connsiteX24" fmla="*/ 317783 w 4876773"/>
                <a:gd name="connsiteY24" fmla="*/ 4153230 h 4848355"/>
                <a:gd name="connsiteX25" fmla="*/ 596885 w 4876773"/>
                <a:gd name="connsiteY25" fmla="*/ 3735101 h 4848355"/>
                <a:gd name="connsiteX26" fmla="*/ 825618 w 4876773"/>
                <a:gd name="connsiteY26" fmla="*/ 3621201 h 4848355"/>
                <a:gd name="connsiteX27" fmla="*/ 862291 w 4876773"/>
                <a:gd name="connsiteY27" fmla="*/ 3611335 h 4848355"/>
                <a:gd name="connsiteX28" fmla="*/ 1391803 w 4876773"/>
                <a:gd name="connsiteY28" fmla="*/ 2999590 h 4848355"/>
                <a:gd name="connsiteX29" fmla="*/ 1185339 w 4876773"/>
                <a:gd name="connsiteY29" fmla="*/ 3244697 h 4848355"/>
                <a:gd name="connsiteX30" fmla="*/ 1363809 w 4876773"/>
                <a:gd name="connsiteY30" fmla="*/ 3485299 h 4848355"/>
                <a:gd name="connsiteX31" fmla="*/ 1611383 w 4876773"/>
                <a:gd name="connsiteY31" fmla="*/ 3670350 h 4848355"/>
                <a:gd name="connsiteX32" fmla="*/ 1759973 w 4876773"/>
                <a:gd name="connsiteY32" fmla="*/ 3546935 h 4848355"/>
                <a:gd name="connsiteX33" fmla="*/ 1859976 w 4876773"/>
                <a:gd name="connsiteY33" fmla="*/ 3463629 h 4848355"/>
                <a:gd name="connsiteX34" fmla="*/ 1596695 w 4876773"/>
                <a:gd name="connsiteY34" fmla="*/ 3237306 h 4848355"/>
                <a:gd name="connsiteX35" fmla="*/ 1596609 w 4876773"/>
                <a:gd name="connsiteY35" fmla="*/ 3237229 h 4848355"/>
                <a:gd name="connsiteX36" fmla="*/ 1596552 w 4876773"/>
                <a:gd name="connsiteY36" fmla="*/ 3237163 h 4848355"/>
                <a:gd name="connsiteX37" fmla="*/ 1596381 w 4876773"/>
                <a:gd name="connsiteY37" fmla="*/ 3237001 h 4848355"/>
                <a:gd name="connsiteX38" fmla="*/ 1391803 w 4876773"/>
                <a:gd name="connsiteY38" fmla="*/ 2999590 h 4848355"/>
                <a:gd name="connsiteX39" fmla="*/ 3351600 w 4876773"/>
                <a:gd name="connsiteY39" fmla="*/ 2731461 h 4848355"/>
                <a:gd name="connsiteX40" fmla="*/ 2463785 w 4876773"/>
                <a:gd name="connsiteY40" fmla="*/ 3420405 h 4848355"/>
                <a:gd name="connsiteX41" fmla="*/ 2520954 w 4876773"/>
                <a:gd name="connsiteY41" fmla="*/ 4532848 h 4848355"/>
                <a:gd name="connsiteX42" fmla="*/ 2930643 w 4876773"/>
                <a:gd name="connsiteY42" fmla="*/ 4123159 h 4848355"/>
                <a:gd name="connsiteX43" fmla="*/ 3351610 w 4876773"/>
                <a:gd name="connsiteY43" fmla="*/ 3106861 h 4848355"/>
                <a:gd name="connsiteX44" fmla="*/ 3351600 w 4876773"/>
                <a:gd name="connsiteY44" fmla="*/ 3106861 h 4848355"/>
                <a:gd name="connsiteX45" fmla="*/ 2543223 w 4876773"/>
                <a:gd name="connsiteY45" fmla="*/ 2226713 h 4848355"/>
                <a:gd name="connsiteX46" fmla="*/ 2638854 w 4876773"/>
                <a:gd name="connsiteY46" fmla="*/ 2322344 h 4848355"/>
                <a:gd name="connsiteX47" fmla="*/ 2543223 w 4876773"/>
                <a:gd name="connsiteY47" fmla="*/ 2417975 h 4848355"/>
                <a:gd name="connsiteX48" fmla="*/ 2447592 w 4876773"/>
                <a:gd name="connsiteY48" fmla="*/ 2322344 h 4848355"/>
                <a:gd name="connsiteX49" fmla="*/ 2543223 w 4876773"/>
                <a:gd name="connsiteY49" fmla="*/ 2226713 h 4848355"/>
                <a:gd name="connsiteX50" fmla="*/ 1740104 w 4876773"/>
                <a:gd name="connsiteY50" fmla="*/ 1496583 h 4848355"/>
                <a:gd name="connsiteX51" fmla="*/ 725186 w 4876773"/>
                <a:gd name="connsiteY51" fmla="*/ 1917550 h 4848355"/>
                <a:gd name="connsiteX52" fmla="*/ 315497 w 4876773"/>
                <a:gd name="connsiteY52" fmla="*/ 2327239 h 4848355"/>
                <a:gd name="connsiteX53" fmla="*/ 1429350 w 4876773"/>
                <a:gd name="connsiteY53" fmla="*/ 2384466 h 4848355"/>
                <a:gd name="connsiteX54" fmla="*/ 2140963 w 4876773"/>
                <a:gd name="connsiteY54" fmla="*/ 1508356 h 4848355"/>
                <a:gd name="connsiteX55" fmla="*/ 3507705 w 4876773"/>
                <a:gd name="connsiteY55" fmla="*/ 1182068 h 4848355"/>
                <a:gd name="connsiteX56" fmla="*/ 3355134 w 4876773"/>
                <a:gd name="connsiteY56" fmla="*/ 1245266 h 4848355"/>
                <a:gd name="connsiteX57" fmla="*/ 3355134 w 4876773"/>
                <a:gd name="connsiteY57" fmla="*/ 1550419 h 4848355"/>
                <a:gd name="connsiteX58" fmla="*/ 3660286 w 4876773"/>
                <a:gd name="connsiteY58" fmla="*/ 1550419 h 4848355"/>
                <a:gd name="connsiteX59" fmla="*/ 3660277 w 4876773"/>
                <a:gd name="connsiteY59" fmla="*/ 1245266 h 4848355"/>
                <a:gd name="connsiteX60" fmla="*/ 3507705 w 4876773"/>
                <a:gd name="connsiteY60" fmla="*/ 1182068 h 4848355"/>
                <a:gd name="connsiteX61" fmla="*/ 3507705 w 4876773"/>
                <a:gd name="connsiteY61" fmla="*/ 990825 h 4848355"/>
                <a:gd name="connsiteX62" fmla="*/ 3795513 w 4876773"/>
                <a:gd name="connsiteY62" fmla="*/ 1110040 h 4848355"/>
                <a:gd name="connsiteX63" fmla="*/ 3795513 w 4876773"/>
                <a:gd name="connsiteY63" fmla="*/ 1685664 h 4848355"/>
                <a:gd name="connsiteX64" fmla="*/ 3507705 w 4876773"/>
                <a:gd name="connsiteY64" fmla="*/ 1804679 h 4848355"/>
                <a:gd name="connsiteX65" fmla="*/ 3219898 w 4876773"/>
                <a:gd name="connsiteY65" fmla="*/ 1685664 h 4848355"/>
                <a:gd name="connsiteX66" fmla="*/ 3219898 w 4876773"/>
                <a:gd name="connsiteY66" fmla="*/ 1110040 h 4848355"/>
                <a:gd name="connsiteX67" fmla="*/ 3507705 w 4876773"/>
                <a:gd name="connsiteY67" fmla="*/ 990825 h 4848355"/>
                <a:gd name="connsiteX68" fmla="*/ 4653487 w 4876773"/>
                <a:gd name="connsiteY68" fmla="*/ 191344 h 4848355"/>
                <a:gd name="connsiteX69" fmla="*/ 4564447 w 4876773"/>
                <a:gd name="connsiteY69" fmla="*/ 197021 h 4848355"/>
                <a:gd name="connsiteX70" fmla="*/ 2650808 w 4876773"/>
                <a:gd name="connsiteY70" fmla="*/ 1184030 h 4848355"/>
                <a:gd name="connsiteX71" fmla="*/ 1421073 w 4876773"/>
                <a:gd name="connsiteY71" fmla="*/ 2698019 h 4848355"/>
                <a:gd name="connsiteX72" fmla="*/ 1666247 w 4876773"/>
                <a:gd name="connsiteY72" fmla="*/ 3032385 h 4848355"/>
                <a:gd name="connsiteX73" fmla="*/ 2171415 w 4876773"/>
                <a:gd name="connsiteY73" fmla="*/ 2527217 h 4848355"/>
                <a:gd name="connsiteX74" fmla="*/ 2306660 w 4876773"/>
                <a:gd name="connsiteY74" fmla="*/ 2527217 h 4848355"/>
                <a:gd name="connsiteX75" fmla="*/ 2306660 w 4876773"/>
                <a:gd name="connsiteY75" fmla="*/ 2662462 h 4848355"/>
                <a:gd name="connsiteX76" fmla="*/ 1801016 w 4876773"/>
                <a:gd name="connsiteY76" fmla="*/ 3168106 h 4848355"/>
                <a:gd name="connsiteX77" fmla="*/ 2147421 w 4876773"/>
                <a:gd name="connsiteY77" fmla="*/ 3423814 h 4848355"/>
                <a:gd name="connsiteX78" fmla="*/ 3647228 w 4876773"/>
                <a:gd name="connsiteY78" fmla="*/ 2259964 h 4848355"/>
                <a:gd name="connsiteX79" fmla="*/ 4683234 w 4876773"/>
                <a:gd name="connsiteY79" fmla="*/ 269430 h 4848355"/>
                <a:gd name="connsiteX80" fmla="*/ 4685520 w 4876773"/>
                <a:gd name="connsiteY80" fmla="*/ 222900 h 4848355"/>
                <a:gd name="connsiteX81" fmla="*/ 4676566 w 4876773"/>
                <a:gd name="connsiteY81" fmla="*/ 199954 h 4848355"/>
                <a:gd name="connsiteX82" fmla="*/ 4653487 w 4876773"/>
                <a:gd name="connsiteY82" fmla="*/ 191344 h 4848355"/>
                <a:gd name="connsiteX83" fmla="*/ 4641314 w 4876773"/>
                <a:gd name="connsiteY83" fmla="*/ 463 h 4848355"/>
                <a:gd name="connsiteX84" fmla="*/ 4810792 w 4876773"/>
                <a:gd name="connsiteY84" fmla="*/ 63699 h 4848355"/>
                <a:gd name="connsiteX85" fmla="*/ 4876505 w 4876773"/>
                <a:gd name="connsiteY85" fmla="*/ 232235 h 4848355"/>
                <a:gd name="connsiteX86" fmla="*/ 4874229 w 4876773"/>
                <a:gd name="connsiteY86" fmla="*/ 278774 h 4848355"/>
                <a:gd name="connsiteX87" fmla="*/ 3764452 w 4876773"/>
                <a:gd name="connsiteY87" fmla="*/ 2411059 h 4848355"/>
                <a:gd name="connsiteX88" fmla="*/ 3542834 w 4876773"/>
                <a:gd name="connsiteY88" fmla="*/ 2583033 h 4848355"/>
                <a:gd name="connsiteX89" fmla="*/ 3542834 w 4876773"/>
                <a:gd name="connsiteY89" fmla="*/ 3106861 h 4848355"/>
                <a:gd name="connsiteX90" fmla="*/ 3065860 w 4876773"/>
                <a:gd name="connsiteY90" fmla="*/ 4258395 h 4848355"/>
                <a:gd name="connsiteX91" fmla="*/ 2504085 w 4876773"/>
                <a:gd name="connsiteY91" fmla="*/ 4820170 h 4848355"/>
                <a:gd name="connsiteX92" fmla="*/ 2436448 w 4876773"/>
                <a:gd name="connsiteY92" fmla="*/ 4848193 h 4848355"/>
                <a:gd name="connsiteX93" fmla="*/ 2402158 w 4876773"/>
                <a:gd name="connsiteY93" fmla="*/ 4841811 h 4848355"/>
                <a:gd name="connsiteX94" fmla="*/ 2340979 w 4876773"/>
                <a:gd name="connsiteY94" fmla="*/ 4757458 h 4848355"/>
                <a:gd name="connsiteX95" fmla="*/ 2279619 w 4876773"/>
                <a:gd name="connsiteY95" fmla="*/ 3563308 h 4848355"/>
                <a:gd name="connsiteX96" fmla="*/ 2214439 w 4876773"/>
                <a:gd name="connsiteY96" fmla="*/ 3613886 h 4848355"/>
                <a:gd name="connsiteX97" fmla="*/ 2155803 w 4876773"/>
                <a:gd name="connsiteY97" fmla="*/ 3633964 h 4848355"/>
                <a:gd name="connsiteX98" fmla="*/ 2110121 w 4876773"/>
                <a:gd name="connsiteY98" fmla="*/ 3622335 h 4848355"/>
                <a:gd name="connsiteX99" fmla="*/ 2026349 w 4876773"/>
                <a:gd name="connsiteY99" fmla="*/ 3574271 h 4848355"/>
                <a:gd name="connsiteX100" fmla="*/ 1882502 w 4876773"/>
                <a:gd name="connsiteY100" fmla="*/ 3693781 h 4848355"/>
                <a:gd name="connsiteX101" fmla="*/ 1683973 w 4876773"/>
                <a:gd name="connsiteY101" fmla="*/ 3858040 h 4848355"/>
                <a:gd name="connsiteX102" fmla="*/ 1623708 w 4876773"/>
                <a:gd name="connsiteY102" fmla="*/ 3879405 h 4848355"/>
                <a:gd name="connsiteX103" fmla="*/ 1582817 w 4876773"/>
                <a:gd name="connsiteY103" fmla="*/ 3870213 h 4848355"/>
                <a:gd name="connsiteX104" fmla="*/ 1228020 w 4876773"/>
                <a:gd name="connsiteY104" fmla="*/ 3619982 h 4848355"/>
                <a:gd name="connsiteX105" fmla="*/ 985000 w 4876773"/>
                <a:gd name="connsiteY105" fmla="*/ 3272386 h 4848355"/>
                <a:gd name="connsiteX106" fmla="*/ 998306 w 4876773"/>
                <a:gd name="connsiteY106" fmla="*/ 3169868 h 4848355"/>
                <a:gd name="connsiteX107" fmla="*/ 1280303 w 4876773"/>
                <a:gd name="connsiteY107" fmla="*/ 2835093 h 4848355"/>
                <a:gd name="connsiteX108" fmla="*/ 1221782 w 4876773"/>
                <a:gd name="connsiteY108" fmla="*/ 2733966 h 4848355"/>
                <a:gd name="connsiteX109" fmla="*/ 1231554 w 4876773"/>
                <a:gd name="connsiteY109" fmla="*/ 2627982 h 4848355"/>
                <a:gd name="connsiteX110" fmla="*/ 1280036 w 4876773"/>
                <a:gd name="connsiteY110" fmla="*/ 2568289 h 4848355"/>
                <a:gd name="connsiteX111" fmla="*/ 90897 w 4876773"/>
                <a:gd name="connsiteY111" fmla="*/ 2507195 h 4848355"/>
                <a:gd name="connsiteX112" fmla="*/ 6544 w 4876773"/>
                <a:gd name="connsiteY112" fmla="*/ 2446016 h 4848355"/>
                <a:gd name="connsiteX113" fmla="*/ 28185 w 4876773"/>
                <a:gd name="connsiteY113" fmla="*/ 2344080 h 4848355"/>
                <a:gd name="connsiteX114" fmla="*/ 589950 w 4876773"/>
                <a:gd name="connsiteY114" fmla="*/ 1782304 h 4848355"/>
                <a:gd name="connsiteX115" fmla="*/ 1741485 w 4876773"/>
                <a:gd name="connsiteY115" fmla="*/ 1305331 h 4848355"/>
                <a:gd name="connsiteX116" fmla="*/ 1744285 w 4876773"/>
                <a:gd name="connsiteY116" fmla="*/ 1305369 h 4848355"/>
                <a:gd name="connsiteX117" fmla="*/ 2292763 w 4876773"/>
                <a:gd name="connsiteY117" fmla="*/ 1321475 h 4848355"/>
                <a:gd name="connsiteX118" fmla="*/ 2502351 w 4876773"/>
                <a:gd name="connsiteY118" fmla="*/ 1063453 h 4848355"/>
                <a:gd name="connsiteX119" fmla="*/ 4552274 w 4876773"/>
                <a:gd name="connsiteY119" fmla="*/ 6140 h 484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876773" h="4848355">
                  <a:moveTo>
                    <a:pt x="95821" y="4656712"/>
                  </a:moveTo>
                  <a:cubicBezTo>
                    <a:pt x="148742" y="4656712"/>
                    <a:pt x="191643" y="4699613"/>
                    <a:pt x="191643" y="4752533"/>
                  </a:cubicBezTo>
                  <a:cubicBezTo>
                    <a:pt x="191643" y="4805454"/>
                    <a:pt x="148742" y="4848355"/>
                    <a:pt x="95821" y="4848355"/>
                  </a:cubicBezTo>
                  <a:cubicBezTo>
                    <a:pt x="42901" y="4848355"/>
                    <a:pt x="0" y="4805454"/>
                    <a:pt x="0" y="4752533"/>
                  </a:cubicBezTo>
                  <a:cubicBezTo>
                    <a:pt x="0" y="4699612"/>
                    <a:pt x="42901" y="4656712"/>
                    <a:pt x="95821" y="4656712"/>
                  </a:cubicBezTo>
                  <a:close/>
                  <a:moveTo>
                    <a:pt x="862291" y="3611335"/>
                  </a:moveTo>
                  <a:cubicBezTo>
                    <a:pt x="899487" y="3609032"/>
                    <a:pt x="936192" y="3628724"/>
                    <a:pt x="953844" y="3664178"/>
                  </a:cubicBezTo>
                  <a:cubicBezTo>
                    <a:pt x="977389" y="3711451"/>
                    <a:pt x="958149" y="3768858"/>
                    <a:pt x="910867" y="3792404"/>
                  </a:cubicBezTo>
                  <a:lnTo>
                    <a:pt x="682133" y="3906304"/>
                  </a:lnTo>
                  <a:cubicBezTo>
                    <a:pt x="582692" y="3955834"/>
                    <a:pt x="516189" y="4055456"/>
                    <a:pt x="508597" y="4166298"/>
                  </a:cubicBezTo>
                  <a:lnTo>
                    <a:pt x="499530" y="4298762"/>
                  </a:lnTo>
                  <a:cubicBezTo>
                    <a:pt x="498006" y="4321137"/>
                    <a:pt x="509188" y="4335891"/>
                    <a:pt x="515998" y="4342701"/>
                  </a:cubicBezTo>
                  <a:cubicBezTo>
                    <a:pt x="522809" y="4349512"/>
                    <a:pt x="537534" y="4360665"/>
                    <a:pt x="559928" y="4359170"/>
                  </a:cubicBezTo>
                  <a:lnTo>
                    <a:pt x="692401" y="4350102"/>
                  </a:lnTo>
                  <a:cubicBezTo>
                    <a:pt x="803253" y="4342520"/>
                    <a:pt x="902866" y="4276017"/>
                    <a:pt x="952396" y="4176566"/>
                  </a:cubicBezTo>
                  <a:lnTo>
                    <a:pt x="1066296" y="3947823"/>
                  </a:lnTo>
                  <a:cubicBezTo>
                    <a:pt x="1089841" y="3900551"/>
                    <a:pt x="1147239" y="3881301"/>
                    <a:pt x="1194521" y="3904847"/>
                  </a:cubicBezTo>
                  <a:cubicBezTo>
                    <a:pt x="1241794" y="3928392"/>
                    <a:pt x="1261034" y="3985790"/>
                    <a:pt x="1237488" y="4033072"/>
                  </a:cubicBezTo>
                  <a:lnTo>
                    <a:pt x="1123589" y="4261805"/>
                  </a:lnTo>
                  <a:cubicBezTo>
                    <a:pt x="1043940" y="4421768"/>
                    <a:pt x="883730" y="4528705"/>
                    <a:pt x="705460" y="4540907"/>
                  </a:cubicBezTo>
                  <a:lnTo>
                    <a:pt x="572986" y="4549975"/>
                  </a:lnTo>
                  <a:cubicBezTo>
                    <a:pt x="567329" y="4550365"/>
                    <a:pt x="561661" y="4550556"/>
                    <a:pt x="556032" y="4550556"/>
                  </a:cubicBezTo>
                  <a:cubicBezTo>
                    <a:pt x="490500" y="4550556"/>
                    <a:pt x="427397" y="4524591"/>
                    <a:pt x="380743" y="4477937"/>
                  </a:cubicBezTo>
                  <a:cubicBezTo>
                    <a:pt x="330070" y="4427264"/>
                    <a:pt x="303819" y="4357198"/>
                    <a:pt x="308715" y="4285694"/>
                  </a:cubicBezTo>
                  <a:lnTo>
                    <a:pt x="317783" y="4153230"/>
                  </a:lnTo>
                  <a:cubicBezTo>
                    <a:pt x="329994" y="3974960"/>
                    <a:pt x="436941" y="3814750"/>
                    <a:pt x="596885" y="3735101"/>
                  </a:cubicBezTo>
                  <a:lnTo>
                    <a:pt x="825618" y="3621201"/>
                  </a:lnTo>
                  <a:cubicBezTo>
                    <a:pt x="837439" y="3615315"/>
                    <a:pt x="849892" y="3612103"/>
                    <a:pt x="862291" y="3611335"/>
                  </a:cubicBezTo>
                  <a:close/>
                  <a:moveTo>
                    <a:pt x="1391803" y="2999590"/>
                  </a:moveTo>
                  <a:lnTo>
                    <a:pt x="1185339" y="3244697"/>
                  </a:lnTo>
                  <a:cubicBezTo>
                    <a:pt x="1233612" y="3333641"/>
                    <a:pt x="1293476" y="3414385"/>
                    <a:pt x="1363809" y="3485299"/>
                  </a:cubicBezTo>
                  <a:cubicBezTo>
                    <a:pt x="1436428" y="3558527"/>
                    <a:pt x="1519524" y="3620601"/>
                    <a:pt x="1611383" y="3670350"/>
                  </a:cubicBezTo>
                  <a:cubicBezTo>
                    <a:pt x="1658874" y="3631288"/>
                    <a:pt x="1710052" y="3588578"/>
                    <a:pt x="1759973" y="3546935"/>
                  </a:cubicBezTo>
                  <a:cubicBezTo>
                    <a:pt x="1793215" y="3519198"/>
                    <a:pt x="1827000" y="3491004"/>
                    <a:pt x="1859976" y="3463629"/>
                  </a:cubicBezTo>
                  <a:cubicBezTo>
                    <a:pt x="1766583" y="3395268"/>
                    <a:pt x="1678544" y="3319678"/>
                    <a:pt x="1596695" y="3237306"/>
                  </a:cubicBezTo>
                  <a:cubicBezTo>
                    <a:pt x="1596667" y="3237277"/>
                    <a:pt x="1596638" y="3237258"/>
                    <a:pt x="1596609" y="3237229"/>
                  </a:cubicBezTo>
                  <a:cubicBezTo>
                    <a:pt x="1596590" y="3237210"/>
                    <a:pt x="1596571" y="3237182"/>
                    <a:pt x="1596552" y="3237163"/>
                  </a:cubicBezTo>
                  <a:cubicBezTo>
                    <a:pt x="1596495" y="3237106"/>
                    <a:pt x="1596438" y="3237058"/>
                    <a:pt x="1596381" y="3237001"/>
                  </a:cubicBezTo>
                  <a:cubicBezTo>
                    <a:pt x="1522562" y="3162677"/>
                    <a:pt x="1454230" y="3083343"/>
                    <a:pt x="1391803" y="2999590"/>
                  </a:cubicBezTo>
                  <a:close/>
                  <a:moveTo>
                    <a:pt x="3351600" y="2731461"/>
                  </a:moveTo>
                  <a:lnTo>
                    <a:pt x="2463785" y="3420405"/>
                  </a:lnTo>
                  <a:lnTo>
                    <a:pt x="2520954" y="4532848"/>
                  </a:lnTo>
                  <a:lnTo>
                    <a:pt x="2930643" y="4123159"/>
                  </a:lnTo>
                  <a:cubicBezTo>
                    <a:pt x="3202115" y="3851687"/>
                    <a:pt x="3351610" y="3490766"/>
                    <a:pt x="3351610" y="3106861"/>
                  </a:cubicBezTo>
                  <a:lnTo>
                    <a:pt x="3351600" y="3106861"/>
                  </a:lnTo>
                  <a:close/>
                  <a:moveTo>
                    <a:pt x="2543223" y="2226713"/>
                  </a:moveTo>
                  <a:cubicBezTo>
                    <a:pt x="2596038" y="2226713"/>
                    <a:pt x="2638854" y="2269528"/>
                    <a:pt x="2638854" y="2322344"/>
                  </a:cubicBezTo>
                  <a:cubicBezTo>
                    <a:pt x="2638854" y="2375159"/>
                    <a:pt x="2596038" y="2417975"/>
                    <a:pt x="2543223" y="2417975"/>
                  </a:cubicBezTo>
                  <a:cubicBezTo>
                    <a:pt x="2490407" y="2417975"/>
                    <a:pt x="2447592" y="2375159"/>
                    <a:pt x="2447592" y="2322344"/>
                  </a:cubicBezTo>
                  <a:cubicBezTo>
                    <a:pt x="2447592" y="2269528"/>
                    <a:pt x="2490407" y="2226713"/>
                    <a:pt x="2543223" y="2226713"/>
                  </a:cubicBezTo>
                  <a:close/>
                  <a:moveTo>
                    <a:pt x="1740104" y="1496583"/>
                  </a:moveTo>
                  <a:cubicBezTo>
                    <a:pt x="1356722" y="1496955"/>
                    <a:pt x="996315" y="1646421"/>
                    <a:pt x="725186" y="1917550"/>
                  </a:cubicBezTo>
                  <a:lnTo>
                    <a:pt x="315497" y="2327239"/>
                  </a:lnTo>
                  <a:lnTo>
                    <a:pt x="1429350" y="2384466"/>
                  </a:lnTo>
                  <a:lnTo>
                    <a:pt x="2140963" y="1508356"/>
                  </a:lnTo>
                  <a:close/>
                  <a:moveTo>
                    <a:pt x="3507705" y="1182068"/>
                  </a:moveTo>
                  <a:cubicBezTo>
                    <a:pt x="3450070" y="1182068"/>
                    <a:pt x="3395891" y="1204509"/>
                    <a:pt x="3355134" y="1245266"/>
                  </a:cubicBezTo>
                  <a:cubicBezTo>
                    <a:pt x="3270999" y="1329400"/>
                    <a:pt x="3270999" y="1466294"/>
                    <a:pt x="3355134" y="1550419"/>
                  </a:cubicBezTo>
                  <a:cubicBezTo>
                    <a:pt x="3439249" y="1634543"/>
                    <a:pt x="3576152" y="1634543"/>
                    <a:pt x="3660286" y="1550419"/>
                  </a:cubicBezTo>
                  <a:cubicBezTo>
                    <a:pt x="3744411" y="1466294"/>
                    <a:pt x="3744411" y="1329400"/>
                    <a:pt x="3660277" y="1245266"/>
                  </a:cubicBezTo>
                  <a:cubicBezTo>
                    <a:pt x="3619519" y="1204509"/>
                    <a:pt x="3565341" y="1182068"/>
                    <a:pt x="3507705" y="1182068"/>
                  </a:cubicBezTo>
                  <a:close/>
                  <a:moveTo>
                    <a:pt x="3507705" y="990825"/>
                  </a:moveTo>
                  <a:cubicBezTo>
                    <a:pt x="3616424" y="990825"/>
                    <a:pt x="3718636" y="1033154"/>
                    <a:pt x="3795513" y="1110040"/>
                  </a:cubicBezTo>
                  <a:cubicBezTo>
                    <a:pt x="3954209" y="1268736"/>
                    <a:pt x="3954209" y="1526958"/>
                    <a:pt x="3795513" y="1685664"/>
                  </a:cubicBezTo>
                  <a:cubicBezTo>
                    <a:pt x="3716169" y="1764998"/>
                    <a:pt x="3611918" y="1804679"/>
                    <a:pt x="3507705" y="1804679"/>
                  </a:cubicBezTo>
                  <a:cubicBezTo>
                    <a:pt x="3403464" y="1804679"/>
                    <a:pt x="3299260" y="1765017"/>
                    <a:pt x="3219898" y="1685664"/>
                  </a:cubicBezTo>
                  <a:cubicBezTo>
                    <a:pt x="3061202" y="1526968"/>
                    <a:pt x="3061202" y="1268745"/>
                    <a:pt x="3219898" y="1110040"/>
                  </a:cubicBezTo>
                  <a:cubicBezTo>
                    <a:pt x="3296765" y="1033173"/>
                    <a:pt x="3398987" y="990825"/>
                    <a:pt x="3507705" y="990825"/>
                  </a:cubicBezTo>
                  <a:close/>
                  <a:moveTo>
                    <a:pt x="4653487" y="191344"/>
                  </a:moveTo>
                  <a:lnTo>
                    <a:pt x="4564447" y="197021"/>
                  </a:lnTo>
                  <a:cubicBezTo>
                    <a:pt x="3819144" y="244588"/>
                    <a:pt x="3121648" y="604348"/>
                    <a:pt x="2650808" y="1184030"/>
                  </a:cubicBezTo>
                  <a:lnTo>
                    <a:pt x="1421073" y="2698019"/>
                  </a:lnTo>
                  <a:cubicBezTo>
                    <a:pt x="1491111" y="2817682"/>
                    <a:pt x="1573368" y="2929562"/>
                    <a:pt x="1666247" y="3032385"/>
                  </a:cubicBezTo>
                  <a:lnTo>
                    <a:pt x="2171415" y="2527217"/>
                  </a:lnTo>
                  <a:cubicBezTo>
                    <a:pt x="2208762" y="2489869"/>
                    <a:pt x="2269313" y="2489869"/>
                    <a:pt x="2306660" y="2527217"/>
                  </a:cubicBezTo>
                  <a:cubicBezTo>
                    <a:pt x="2343998" y="2564564"/>
                    <a:pt x="2343998" y="2625124"/>
                    <a:pt x="2306660" y="2662462"/>
                  </a:cubicBezTo>
                  <a:lnTo>
                    <a:pt x="1801016" y="3168106"/>
                  </a:lnTo>
                  <a:cubicBezTo>
                    <a:pt x="1907115" y="3265328"/>
                    <a:pt x="2023044" y="3351139"/>
                    <a:pt x="2147421" y="3423814"/>
                  </a:cubicBezTo>
                  <a:lnTo>
                    <a:pt x="3647228" y="2259964"/>
                  </a:lnTo>
                  <a:cubicBezTo>
                    <a:pt x="4267248" y="1778828"/>
                    <a:pt x="4644857" y="1053309"/>
                    <a:pt x="4683234" y="269430"/>
                  </a:cubicBezTo>
                  <a:lnTo>
                    <a:pt x="4685520" y="222900"/>
                  </a:lnTo>
                  <a:cubicBezTo>
                    <a:pt x="4686091" y="211175"/>
                    <a:pt x="4680157" y="203488"/>
                    <a:pt x="4676566" y="199954"/>
                  </a:cubicBezTo>
                  <a:cubicBezTo>
                    <a:pt x="4672966" y="196411"/>
                    <a:pt x="4665155" y="190620"/>
                    <a:pt x="4653487" y="191344"/>
                  </a:cubicBezTo>
                  <a:close/>
                  <a:moveTo>
                    <a:pt x="4641314" y="463"/>
                  </a:moveTo>
                  <a:cubicBezTo>
                    <a:pt x="4704103" y="-3624"/>
                    <a:pt x="4765920" y="19494"/>
                    <a:pt x="4810792" y="63699"/>
                  </a:cubicBezTo>
                  <a:cubicBezTo>
                    <a:pt x="4855645" y="107914"/>
                    <a:pt x="4879610" y="169331"/>
                    <a:pt x="4876505" y="232235"/>
                  </a:cubicBezTo>
                  <a:lnTo>
                    <a:pt x="4874229" y="278774"/>
                  </a:lnTo>
                  <a:cubicBezTo>
                    <a:pt x="4833119" y="1118479"/>
                    <a:pt x="4428621" y="1895661"/>
                    <a:pt x="3764452" y="2411059"/>
                  </a:cubicBezTo>
                  <a:lnTo>
                    <a:pt x="3542834" y="2583033"/>
                  </a:lnTo>
                  <a:lnTo>
                    <a:pt x="3542834" y="3106861"/>
                  </a:lnTo>
                  <a:cubicBezTo>
                    <a:pt x="3542834" y="3541858"/>
                    <a:pt x="3373451" y="3950804"/>
                    <a:pt x="3065860" y="4258395"/>
                  </a:cubicBezTo>
                  <a:lnTo>
                    <a:pt x="2504085" y="4820170"/>
                  </a:lnTo>
                  <a:cubicBezTo>
                    <a:pt x="2485816" y="4838449"/>
                    <a:pt x="2461356" y="4848193"/>
                    <a:pt x="2436448" y="4848193"/>
                  </a:cubicBezTo>
                  <a:cubicBezTo>
                    <a:pt x="2424923" y="4848193"/>
                    <a:pt x="2413321" y="4846097"/>
                    <a:pt x="2402158" y="4841811"/>
                  </a:cubicBezTo>
                  <a:cubicBezTo>
                    <a:pt x="2366896" y="4828247"/>
                    <a:pt x="2342922" y="4795195"/>
                    <a:pt x="2340979" y="4757458"/>
                  </a:cubicBezTo>
                  <a:lnTo>
                    <a:pt x="2279619" y="3563308"/>
                  </a:lnTo>
                  <a:lnTo>
                    <a:pt x="2214439" y="3613886"/>
                  </a:lnTo>
                  <a:cubicBezTo>
                    <a:pt x="2197313" y="3627183"/>
                    <a:pt x="2176625" y="3633964"/>
                    <a:pt x="2155803" y="3633964"/>
                  </a:cubicBezTo>
                  <a:cubicBezTo>
                    <a:pt x="2140154" y="3633964"/>
                    <a:pt x="2124447" y="3630126"/>
                    <a:pt x="2110121" y="3622335"/>
                  </a:cubicBezTo>
                  <a:cubicBezTo>
                    <a:pt x="2081803" y="3606933"/>
                    <a:pt x="2053905" y="3590854"/>
                    <a:pt x="2026349" y="3574271"/>
                  </a:cubicBezTo>
                  <a:cubicBezTo>
                    <a:pt x="1980181" y="3612276"/>
                    <a:pt x="1930785" y="3653491"/>
                    <a:pt x="1882502" y="3693781"/>
                  </a:cubicBezTo>
                  <a:cubicBezTo>
                    <a:pt x="1814761" y="3750303"/>
                    <a:pt x="1744723" y="3808758"/>
                    <a:pt x="1683973" y="3858040"/>
                  </a:cubicBezTo>
                  <a:cubicBezTo>
                    <a:pt x="1666599" y="3872128"/>
                    <a:pt x="1645244" y="3879405"/>
                    <a:pt x="1623708" y="3879405"/>
                  </a:cubicBezTo>
                  <a:cubicBezTo>
                    <a:pt x="1609821" y="3879405"/>
                    <a:pt x="1595847" y="3876385"/>
                    <a:pt x="1582817" y="3870213"/>
                  </a:cubicBezTo>
                  <a:cubicBezTo>
                    <a:pt x="1449486" y="3807110"/>
                    <a:pt x="1330109" y="3722928"/>
                    <a:pt x="1228020" y="3619982"/>
                  </a:cubicBezTo>
                  <a:cubicBezTo>
                    <a:pt x="1128351" y="3519493"/>
                    <a:pt x="1046598" y="3402545"/>
                    <a:pt x="985000" y="3272386"/>
                  </a:cubicBezTo>
                  <a:cubicBezTo>
                    <a:pt x="969007" y="3238553"/>
                    <a:pt x="974198" y="3198491"/>
                    <a:pt x="998306" y="3169868"/>
                  </a:cubicBezTo>
                  <a:lnTo>
                    <a:pt x="1280303" y="2835093"/>
                  </a:lnTo>
                  <a:cubicBezTo>
                    <a:pt x="1259939" y="2801927"/>
                    <a:pt x="1240413" y="2768218"/>
                    <a:pt x="1221782" y="2733966"/>
                  </a:cubicBezTo>
                  <a:cubicBezTo>
                    <a:pt x="1203255" y="2699924"/>
                    <a:pt x="1207123" y="2658071"/>
                    <a:pt x="1231554" y="2627982"/>
                  </a:cubicBezTo>
                  <a:lnTo>
                    <a:pt x="1280036" y="2568289"/>
                  </a:lnTo>
                  <a:lnTo>
                    <a:pt x="90897" y="2507195"/>
                  </a:lnTo>
                  <a:cubicBezTo>
                    <a:pt x="53159" y="2505271"/>
                    <a:pt x="20108" y="2481287"/>
                    <a:pt x="6544" y="2446016"/>
                  </a:cubicBezTo>
                  <a:cubicBezTo>
                    <a:pt x="-7020" y="2410755"/>
                    <a:pt x="1467" y="2370797"/>
                    <a:pt x="28185" y="2344080"/>
                  </a:cubicBezTo>
                  <a:lnTo>
                    <a:pt x="589950" y="1782304"/>
                  </a:lnTo>
                  <a:cubicBezTo>
                    <a:pt x="897541" y="1474723"/>
                    <a:pt x="1306497" y="1305331"/>
                    <a:pt x="1741485" y="1305331"/>
                  </a:cubicBezTo>
                  <a:cubicBezTo>
                    <a:pt x="1742409" y="1305331"/>
                    <a:pt x="1743352" y="1305340"/>
                    <a:pt x="1744285" y="1305369"/>
                  </a:cubicBezTo>
                  <a:lnTo>
                    <a:pt x="2292763" y="1321475"/>
                  </a:lnTo>
                  <a:lnTo>
                    <a:pt x="2502351" y="1063453"/>
                  </a:lnTo>
                  <a:cubicBezTo>
                    <a:pt x="3006729" y="442480"/>
                    <a:pt x="3753898" y="57108"/>
                    <a:pt x="4552274" y="6140"/>
                  </a:cubicBezTo>
                  <a:close/>
                </a:path>
              </a:pathLst>
            </a:custGeom>
            <a:solidFill>
              <a:srgbClr val="7396A0"/>
            </a:solidFill>
            <a:ln w="9525" cap="flat">
              <a:solidFill>
                <a:srgbClr val="7396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337226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9">
            <a:extLst>
              <a:ext uri="{FF2B5EF4-FFF2-40B4-BE49-F238E27FC236}">
                <a16:creationId xmlns:a16="http://schemas.microsoft.com/office/drawing/2014/main" id="{D2058046-FA19-28E2-EDB3-15A45AE96AB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4288" y="-1"/>
            <a:ext cx="12206288" cy="1467854"/>
          </a:xfrm>
          <a:prstGeom prst="rect">
            <a:avLst/>
          </a:prstGeom>
        </p:spPr>
      </p:pic>
      <p:grpSp>
        <p:nvGrpSpPr>
          <p:cNvPr id="61" name="Group 60">
            <a:extLst>
              <a:ext uri="{FF2B5EF4-FFF2-40B4-BE49-F238E27FC236}">
                <a16:creationId xmlns:a16="http://schemas.microsoft.com/office/drawing/2014/main" id="{114ECD33-1796-2EC0-F62B-1F3F99A2657D}"/>
              </a:ext>
            </a:extLst>
          </p:cNvPr>
          <p:cNvGrpSpPr/>
          <p:nvPr/>
        </p:nvGrpSpPr>
        <p:grpSpPr>
          <a:xfrm>
            <a:off x="6980402" y="2158627"/>
            <a:ext cx="3527409" cy="3527946"/>
            <a:chOff x="4594597" y="1926675"/>
            <a:chExt cx="3003170" cy="3003627"/>
          </a:xfrm>
        </p:grpSpPr>
        <p:sp>
          <p:nvSpPr>
            <p:cNvPr id="62" name="Freeform 5">
              <a:extLst>
                <a:ext uri="{FF2B5EF4-FFF2-40B4-BE49-F238E27FC236}">
                  <a16:creationId xmlns:a16="http://schemas.microsoft.com/office/drawing/2014/main" id="{87B96381-0374-5916-664E-CA0A69F771F5}"/>
                </a:ext>
              </a:extLst>
            </p:cNvPr>
            <p:cNvSpPr>
              <a:spLocks/>
            </p:cNvSpPr>
            <p:nvPr/>
          </p:nvSpPr>
          <p:spPr bwMode="auto">
            <a:xfrm>
              <a:off x="6095718" y="1927603"/>
              <a:ext cx="1501351" cy="1501350"/>
            </a:xfrm>
            <a:custGeom>
              <a:avLst/>
              <a:gdLst>
                <a:gd name="T0" fmla="*/ 0 w 3237"/>
                <a:gd name="T1" fmla="*/ 3237 h 3237"/>
                <a:gd name="T2" fmla="*/ 3237 w 3237"/>
                <a:gd name="T3" fmla="*/ 3237 h 3237"/>
                <a:gd name="T4" fmla="*/ 3235 w 3237"/>
                <a:gd name="T5" fmla="*/ 3152 h 3237"/>
                <a:gd name="T6" fmla="*/ 3233 w 3237"/>
                <a:gd name="T7" fmla="*/ 3070 h 3237"/>
                <a:gd name="T8" fmla="*/ 3228 w 3237"/>
                <a:gd name="T9" fmla="*/ 2987 h 3237"/>
                <a:gd name="T10" fmla="*/ 3220 w 3237"/>
                <a:gd name="T11" fmla="*/ 2905 h 3237"/>
                <a:gd name="T12" fmla="*/ 3210 w 3237"/>
                <a:gd name="T13" fmla="*/ 2824 h 3237"/>
                <a:gd name="T14" fmla="*/ 3199 w 3237"/>
                <a:gd name="T15" fmla="*/ 2743 h 3237"/>
                <a:gd name="T16" fmla="*/ 3187 w 3237"/>
                <a:gd name="T17" fmla="*/ 2663 h 3237"/>
                <a:gd name="T18" fmla="*/ 3172 w 3237"/>
                <a:gd name="T19" fmla="*/ 2584 h 3237"/>
                <a:gd name="T20" fmla="*/ 3136 w 3237"/>
                <a:gd name="T21" fmla="*/ 2427 h 3237"/>
                <a:gd name="T22" fmla="*/ 3091 w 3237"/>
                <a:gd name="T23" fmla="*/ 2273 h 3237"/>
                <a:gd name="T24" fmla="*/ 3041 w 3237"/>
                <a:gd name="T25" fmla="*/ 2123 h 3237"/>
                <a:gd name="T26" fmla="*/ 2982 w 3237"/>
                <a:gd name="T27" fmla="*/ 1975 h 3237"/>
                <a:gd name="T28" fmla="*/ 2919 w 3237"/>
                <a:gd name="T29" fmla="*/ 1833 h 3237"/>
                <a:gd name="T30" fmla="*/ 2846 w 3237"/>
                <a:gd name="T31" fmla="*/ 1693 h 3237"/>
                <a:gd name="T32" fmla="*/ 2769 w 3237"/>
                <a:gd name="T33" fmla="*/ 1557 h 3237"/>
                <a:gd name="T34" fmla="*/ 2684 w 3237"/>
                <a:gd name="T35" fmla="*/ 1426 h 3237"/>
                <a:gd name="T36" fmla="*/ 2594 w 3237"/>
                <a:gd name="T37" fmla="*/ 1300 h 3237"/>
                <a:gd name="T38" fmla="*/ 2498 w 3237"/>
                <a:gd name="T39" fmla="*/ 1177 h 3237"/>
                <a:gd name="T40" fmla="*/ 2396 w 3237"/>
                <a:gd name="T41" fmla="*/ 1060 h 3237"/>
                <a:gd name="T42" fmla="*/ 2289 w 3237"/>
                <a:gd name="T43" fmla="*/ 946 h 3237"/>
                <a:gd name="T44" fmla="*/ 2175 w 3237"/>
                <a:gd name="T45" fmla="*/ 841 h 3237"/>
                <a:gd name="T46" fmla="*/ 2058 w 3237"/>
                <a:gd name="T47" fmla="*/ 739 h 3237"/>
                <a:gd name="T48" fmla="*/ 1937 w 3237"/>
                <a:gd name="T49" fmla="*/ 643 h 3237"/>
                <a:gd name="T50" fmla="*/ 1809 w 3237"/>
                <a:gd name="T51" fmla="*/ 553 h 3237"/>
                <a:gd name="T52" fmla="*/ 1678 w 3237"/>
                <a:gd name="T53" fmla="*/ 468 h 3237"/>
                <a:gd name="T54" fmla="*/ 1542 w 3237"/>
                <a:gd name="T55" fmla="*/ 389 h 3237"/>
                <a:gd name="T56" fmla="*/ 1404 w 3237"/>
                <a:gd name="T57" fmla="*/ 318 h 3237"/>
                <a:gd name="T58" fmla="*/ 1260 w 3237"/>
                <a:gd name="T59" fmla="*/ 253 h 3237"/>
                <a:gd name="T60" fmla="*/ 1112 w 3237"/>
                <a:gd name="T61" fmla="*/ 196 h 3237"/>
                <a:gd name="T62" fmla="*/ 962 w 3237"/>
                <a:gd name="T63" fmla="*/ 144 h 3237"/>
                <a:gd name="T64" fmla="*/ 808 w 3237"/>
                <a:gd name="T65" fmla="*/ 101 h 3237"/>
                <a:gd name="T66" fmla="*/ 651 w 3237"/>
                <a:gd name="T67" fmla="*/ 65 h 3237"/>
                <a:gd name="T68" fmla="*/ 572 w 3237"/>
                <a:gd name="T69" fmla="*/ 50 h 3237"/>
                <a:gd name="T70" fmla="*/ 492 w 3237"/>
                <a:gd name="T71" fmla="*/ 36 h 3237"/>
                <a:gd name="T72" fmla="*/ 411 w 3237"/>
                <a:gd name="T73" fmla="*/ 25 h 3237"/>
                <a:gd name="T74" fmla="*/ 330 w 3237"/>
                <a:gd name="T75" fmla="*/ 15 h 3237"/>
                <a:gd name="T76" fmla="*/ 248 w 3237"/>
                <a:gd name="T77" fmla="*/ 9 h 3237"/>
                <a:gd name="T78" fmla="*/ 165 w 3237"/>
                <a:gd name="T79" fmla="*/ 3 h 3237"/>
                <a:gd name="T80" fmla="*/ 83 w 3237"/>
                <a:gd name="T81" fmla="*/ 0 h 3237"/>
                <a:gd name="T82" fmla="*/ 0 w 3237"/>
                <a:gd name="T83" fmla="*/ 0 h 3237"/>
                <a:gd name="T84" fmla="*/ 0 w 3237"/>
                <a:gd name="T85" fmla="*/ 0 h 3237"/>
                <a:gd name="T86" fmla="*/ 0 w 3237"/>
                <a:gd name="T87" fmla="*/ 3237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0" y="3237"/>
                  </a:moveTo>
                  <a:lnTo>
                    <a:pt x="3237" y="3237"/>
                  </a:lnTo>
                  <a:lnTo>
                    <a:pt x="3235" y="3152"/>
                  </a:lnTo>
                  <a:lnTo>
                    <a:pt x="3233" y="3070"/>
                  </a:lnTo>
                  <a:lnTo>
                    <a:pt x="3228" y="2987"/>
                  </a:lnTo>
                  <a:lnTo>
                    <a:pt x="3220" y="2905"/>
                  </a:lnTo>
                  <a:lnTo>
                    <a:pt x="3210" y="2824"/>
                  </a:lnTo>
                  <a:lnTo>
                    <a:pt x="3199" y="2743"/>
                  </a:lnTo>
                  <a:lnTo>
                    <a:pt x="3187" y="2663"/>
                  </a:lnTo>
                  <a:lnTo>
                    <a:pt x="3172" y="2584"/>
                  </a:lnTo>
                  <a:lnTo>
                    <a:pt x="3136" y="2427"/>
                  </a:lnTo>
                  <a:lnTo>
                    <a:pt x="3091" y="2273"/>
                  </a:lnTo>
                  <a:lnTo>
                    <a:pt x="3041" y="2123"/>
                  </a:lnTo>
                  <a:lnTo>
                    <a:pt x="2982" y="1975"/>
                  </a:lnTo>
                  <a:lnTo>
                    <a:pt x="2919" y="1833"/>
                  </a:lnTo>
                  <a:lnTo>
                    <a:pt x="2846" y="1693"/>
                  </a:lnTo>
                  <a:lnTo>
                    <a:pt x="2769" y="1557"/>
                  </a:lnTo>
                  <a:lnTo>
                    <a:pt x="2684" y="1426"/>
                  </a:lnTo>
                  <a:lnTo>
                    <a:pt x="2594" y="1300"/>
                  </a:lnTo>
                  <a:lnTo>
                    <a:pt x="2498" y="1177"/>
                  </a:lnTo>
                  <a:lnTo>
                    <a:pt x="2396" y="1060"/>
                  </a:lnTo>
                  <a:lnTo>
                    <a:pt x="2289" y="946"/>
                  </a:lnTo>
                  <a:lnTo>
                    <a:pt x="2175" y="841"/>
                  </a:lnTo>
                  <a:lnTo>
                    <a:pt x="2058" y="739"/>
                  </a:lnTo>
                  <a:lnTo>
                    <a:pt x="1937" y="643"/>
                  </a:lnTo>
                  <a:lnTo>
                    <a:pt x="1809" y="553"/>
                  </a:lnTo>
                  <a:lnTo>
                    <a:pt x="1678" y="468"/>
                  </a:lnTo>
                  <a:lnTo>
                    <a:pt x="1542" y="389"/>
                  </a:lnTo>
                  <a:lnTo>
                    <a:pt x="1404" y="318"/>
                  </a:lnTo>
                  <a:lnTo>
                    <a:pt x="1260" y="253"/>
                  </a:lnTo>
                  <a:lnTo>
                    <a:pt x="1112" y="196"/>
                  </a:lnTo>
                  <a:lnTo>
                    <a:pt x="962" y="144"/>
                  </a:lnTo>
                  <a:lnTo>
                    <a:pt x="808" y="101"/>
                  </a:lnTo>
                  <a:lnTo>
                    <a:pt x="651" y="65"/>
                  </a:lnTo>
                  <a:lnTo>
                    <a:pt x="572" y="50"/>
                  </a:lnTo>
                  <a:lnTo>
                    <a:pt x="492" y="36"/>
                  </a:lnTo>
                  <a:lnTo>
                    <a:pt x="411" y="25"/>
                  </a:lnTo>
                  <a:lnTo>
                    <a:pt x="330" y="15"/>
                  </a:lnTo>
                  <a:lnTo>
                    <a:pt x="248" y="9"/>
                  </a:lnTo>
                  <a:lnTo>
                    <a:pt x="165" y="3"/>
                  </a:lnTo>
                  <a:lnTo>
                    <a:pt x="83" y="0"/>
                  </a:lnTo>
                  <a:lnTo>
                    <a:pt x="0" y="0"/>
                  </a:lnTo>
                  <a:lnTo>
                    <a:pt x="0" y="0"/>
                  </a:lnTo>
                  <a:lnTo>
                    <a:pt x="0" y="3237"/>
                  </a:lnTo>
                  <a:close/>
                </a:path>
              </a:pathLst>
            </a:custGeom>
            <a:solidFill>
              <a:srgbClr val="1189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138" b="1" i="0" u="none" strike="noStrike" kern="0" cap="none" spc="0" normalizeH="0" baseline="0" noProof="0">
                <a:ln>
                  <a:noFill/>
                </a:ln>
                <a:solidFill>
                  <a:prstClr val="white"/>
                </a:solidFill>
                <a:effectLst/>
                <a:uLnTx/>
                <a:uFillTx/>
                <a:latin typeface="Calibri"/>
                <a:ea typeface="+mn-ea"/>
                <a:cs typeface="+mn-cs"/>
              </a:endParaRPr>
            </a:p>
          </p:txBody>
        </p:sp>
        <p:grpSp>
          <p:nvGrpSpPr>
            <p:cNvPr id="63" name="Group 62">
              <a:extLst>
                <a:ext uri="{FF2B5EF4-FFF2-40B4-BE49-F238E27FC236}">
                  <a16:creationId xmlns:a16="http://schemas.microsoft.com/office/drawing/2014/main" id="{89ADDADD-2C75-2BD7-A94F-9EB933012649}"/>
                </a:ext>
              </a:extLst>
            </p:cNvPr>
            <p:cNvGrpSpPr/>
            <p:nvPr/>
          </p:nvGrpSpPr>
          <p:grpSpPr>
            <a:xfrm>
              <a:off x="4594597" y="1926675"/>
              <a:ext cx="3003170" cy="3003627"/>
              <a:chOff x="4594597" y="1926675"/>
              <a:chExt cx="3003170" cy="3003627"/>
            </a:xfrm>
          </p:grpSpPr>
          <p:sp>
            <p:nvSpPr>
              <p:cNvPr id="64" name="Freeform 6">
                <a:extLst>
                  <a:ext uri="{FF2B5EF4-FFF2-40B4-BE49-F238E27FC236}">
                    <a16:creationId xmlns:a16="http://schemas.microsoft.com/office/drawing/2014/main" id="{36D41B60-0BC4-F0D8-D66E-72C07B1EA700}"/>
                  </a:ext>
                </a:extLst>
              </p:cNvPr>
              <p:cNvSpPr>
                <a:spLocks/>
              </p:cNvSpPr>
              <p:nvPr/>
            </p:nvSpPr>
            <p:spPr bwMode="auto">
              <a:xfrm>
                <a:off x="6095718" y="3428952"/>
                <a:ext cx="1501351" cy="1501350"/>
              </a:xfrm>
              <a:custGeom>
                <a:avLst/>
                <a:gdLst>
                  <a:gd name="T0" fmla="*/ 0 w 3237"/>
                  <a:gd name="T1" fmla="*/ 0 h 3237"/>
                  <a:gd name="T2" fmla="*/ 0 w 3237"/>
                  <a:gd name="T3" fmla="*/ 3237 h 3237"/>
                  <a:gd name="T4" fmla="*/ 83 w 3237"/>
                  <a:gd name="T5" fmla="*/ 3235 h 3237"/>
                  <a:gd name="T6" fmla="*/ 165 w 3237"/>
                  <a:gd name="T7" fmla="*/ 3232 h 3237"/>
                  <a:gd name="T8" fmla="*/ 248 w 3237"/>
                  <a:gd name="T9" fmla="*/ 3228 h 3237"/>
                  <a:gd name="T10" fmla="*/ 330 w 3237"/>
                  <a:gd name="T11" fmla="*/ 3220 h 3237"/>
                  <a:gd name="T12" fmla="*/ 411 w 3237"/>
                  <a:gd name="T13" fmla="*/ 3210 h 3237"/>
                  <a:gd name="T14" fmla="*/ 492 w 3237"/>
                  <a:gd name="T15" fmla="*/ 3199 h 3237"/>
                  <a:gd name="T16" fmla="*/ 572 w 3237"/>
                  <a:gd name="T17" fmla="*/ 3185 h 3237"/>
                  <a:gd name="T18" fmla="*/ 651 w 3237"/>
                  <a:gd name="T19" fmla="*/ 3170 h 3237"/>
                  <a:gd name="T20" fmla="*/ 808 w 3237"/>
                  <a:gd name="T21" fmla="*/ 3136 h 3237"/>
                  <a:gd name="T22" fmla="*/ 962 w 3237"/>
                  <a:gd name="T23" fmla="*/ 3091 h 3237"/>
                  <a:gd name="T24" fmla="*/ 1112 w 3237"/>
                  <a:gd name="T25" fmla="*/ 3039 h 3237"/>
                  <a:gd name="T26" fmla="*/ 1260 w 3237"/>
                  <a:gd name="T27" fmla="*/ 2982 h 3237"/>
                  <a:gd name="T28" fmla="*/ 1404 w 3237"/>
                  <a:gd name="T29" fmla="*/ 2917 h 3237"/>
                  <a:gd name="T30" fmla="*/ 1542 w 3237"/>
                  <a:gd name="T31" fmla="*/ 2846 h 3237"/>
                  <a:gd name="T32" fmla="*/ 1678 w 3237"/>
                  <a:gd name="T33" fmla="*/ 2769 h 3237"/>
                  <a:gd name="T34" fmla="*/ 1809 w 3237"/>
                  <a:gd name="T35" fmla="*/ 2684 h 3237"/>
                  <a:gd name="T36" fmla="*/ 1937 w 3237"/>
                  <a:gd name="T37" fmla="*/ 2594 h 3237"/>
                  <a:gd name="T38" fmla="*/ 2058 w 3237"/>
                  <a:gd name="T39" fmla="*/ 2498 h 3237"/>
                  <a:gd name="T40" fmla="*/ 2175 w 3237"/>
                  <a:gd name="T41" fmla="*/ 2396 h 3237"/>
                  <a:gd name="T42" fmla="*/ 2289 w 3237"/>
                  <a:gd name="T43" fmla="*/ 2289 h 3237"/>
                  <a:gd name="T44" fmla="*/ 2396 w 3237"/>
                  <a:gd name="T45" fmla="*/ 2175 h 3237"/>
                  <a:gd name="T46" fmla="*/ 2498 w 3237"/>
                  <a:gd name="T47" fmla="*/ 2058 h 3237"/>
                  <a:gd name="T48" fmla="*/ 2594 w 3237"/>
                  <a:gd name="T49" fmla="*/ 1935 h 3237"/>
                  <a:gd name="T50" fmla="*/ 2684 w 3237"/>
                  <a:gd name="T51" fmla="*/ 1809 h 3237"/>
                  <a:gd name="T52" fmla="*/ 2769 w 3237"/>
                  <a:gd name="T53" fmla="*/ 1678 h 3237"/>
                  <a:gd name="T54" fmla="*/ 2846 w 3237"/>
                  <a:gd name="T55" fmla="*/ 1542 h 3237"/>
                  <a:gd name="T56" fmla="*/ 2919 w 3237"/>
                  <a:gd name="T57" fmla="*/ 1404 h 3237"/>
                  <a:gd name="T58" fmla="*/ 2982 w 3237"/>
                  <a:gd name="T59" fmla="*/ 1260 h 3237"/>
                  <a:gd name="T60" fmla="*/ 3041 w 3237"/>
                  <a:gd name="T61" fmla="*/ 1112 h 3237"/>
                  <a:gd name="T62" fmla="*/ 3091 w 3237"/>
                  <a:gd name="T63" fmla="*/ 962 h 3237"/>
                  <a:gd name="T64" fmla="*/ 3136 w 3237"/>
                  <a:gd name="T65" fmla="*/ 808 h 3237"/>
                  <a:gd name="T66" fmla="*/ 3172 w 3237"/>
                  <a:gd name="T67" fmla="*/ 651 h 3237"/>
                  <a:gd name="T68" fmla="*/ 3187 w 3237"/>
                  <a:gd name="T69" fmla="*/ 572 h 3237"/>
                  <a:gd name="T70" fmla="*/ 3199 w 3237"/>
                  <a:gd name="T71" fmla="*/ 492 h 3237"/>
                  <a:gd name="T72" fmla="*/ 3210 w 3237"/>
                  <a:gd name="T73" fmla="*/ 411 h 3237"/>
                  <a:gd name="T74" fmla="*/ 3220 w 3237"/>
                  <a:gd name="T75" fmla="*/ 330 h 3237"/>
                  <a:gd name="T76" fmla="*/ 3228 w 3237"/>
                  <a:gd name="T77" fmla="*/ 248 h 3237"/>
                  <a:gd name="T78" fmla="*/ 3233 w 3237"/>
                  <a:gd name="T79" fmla="*/ 165 h 3237"/>
                  <a:gd name="T80" fmla="*/ 3235 w 3237"/>
                  <a:gd name="T81" fmla="*/ 83 h 3237"/>
                  <a:gd name="T82" fmla="*/ 3237 w 3237"/>
                  <a:gd name="T83" fmla="*/ 0 h 3237"/>
                  <a:gd name="T84" fmla="*/ 0 w 3237"/>
                  <a:gd name="T85"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7">
                    <a:moveTo>
                      <a:pt x="0" y="0"/>
                    </a:moveTo>
                    <a:lnTo>
                      <a:pt x="0" y="3237"/>
                    </a:lnTo>
                    <a:lnTo>
                      <a:pt x="83" y="3235"/>
                    </a:lnTo>
                    <a:lnTo>
                      <a:pt x="165" y="3232"/>
                    </a:lnTo>
                    <a:lnTo>
                      <a:pt x="248" y="3228"/>
                    </a:lnTo>
                    <a:lnTo>
                      <a:pt x="330" y="3220"/>
                    </a:lnTo>
                    <a:lnTo>
                      <a:pt x="411" y="3210"/>
                    </a:lnTo>
                    <a:lnTo>
                      <a:pt x="492" y="3199"/>
                    </a:lnTo>
                    <a:lnTo>
                      <a:pt x="572" y="3185"/>
                    </a:lnTo>
                    <a:lnTo>
                      <a:pt x="651" y="3170"/>
                    </a:lnTo>
                    <a:lnTo>
                      <a:pt x="808" y="3136"/>
                    </a:lnTo>
                    <a:lnTo>
                      <a:pt x="962" y="3091"/>
                    </a:lnTo>
                    <a:lnTo>
                      <a:pt x="1112" y="3039"/>
                    </a:lnTo>
                    <a:lnTo>
                      <a:pt x="1260" y="2982"/>
                    </a:lnTo>
                    <a:lnTo>
                      <a:pt x="1404" y="2917"/>
                    </a:lnTo>
                    <a:lnTo>
                      <a:pt x="1542" y="2846"/>
                    </a:lnTo>
                    <a:lnTo>
                      <a:pt x="1678" y="2769"/>
                    </a:lnTo>
                    <a:lnTo>
                      <a:pt x="1809" y="2684"/>
                    </a:lnTo>
                    <a:lnTo>
                      <a:pt x="1937" y="2594"/>
                    </a:lnTo>
                    <a:lnTo>
                      <a:pt x="2058" y="2498"/>
                    </a:lnTo>
                    <a:lnTo>
                      <a:pt x="2175" y="2396"/>
                    </a:lnTo>
                    <a:lnTo>
                      <a:pt x="2289" y="2289"/>
                    </a:lnTo>
                    <a:lnTo>
                      <a:pt x="2396" y="2175"/>
                    </a:lnTo>
                    <a:lnTo>
                      <a:pt x="2498" y="2058"/>
                    </a:lnTo>
                    <a:lnTo>
                      <a:pt x="2594" y="1935"/>
                    </a:lnTo>
                    <a:lnTo>
                      <a:pt x="2684" y="1809"/>
                    </a:lnTo>
                    <a:lnTo>
                      <a:pt x="2769" y="1678"/>
                    </a:lnTo>
                    <a:lnTo>
                      <a:pt x="2846" y="1542"/>
                    </a:lnTo>
                    <a:lnTo>
                      <a:pt x="2919" y="1404"/>
                    </a:lnTo>
                    <a:lnTo>
                      <a:pt x="2982" y="1260"/>
                    </a:lnTo>
                    <a:lnTo>
                      <a:pt x="3041" y="1112"/>
                    </a:lnTo>
                    <a:lnTo>
                      <a:pt x="3091" y="962"/>
                    </a:lnTo>
                    <a:lnTo>
                      <a:pt x="3136" y="808"/>
                    </a:lnTo>
                    <a:lnTo>
                      <a:pt x="3172" y="651"/>
                    </a:lnTo>
                    <a:lnTo>
                      <a:pt x="3187" y="572"/>
                    </a:lnTo>
                    <a:lnTo>
                      <a:pt x="3199" y="492"/>
                    </a:lnTo>
                    <a:lnTo>
                      <a:pt x="3210" y="411"/>
                    </a:lnTo>
                    <a:lnTo>
                      <a:pt x="3220" y="330"/>
                    </a:lnTo>
                    <a:lnTo>
                      <a:pt x="3228" y="248"/>
                    </a:lnTo>
                    <a:lnTo>
                      <a:pt x="3233" y="165"/>
                    </a:lnTo>
                    <a:lnTo>
                      <a:pt x="3235" y="83"/>
                    </a:lnTo>
                    <a:lnTo>
                      <a:pt x="3237" y="0"/>
                    </a:lnTo>
                    <a:lnTo>
                      <a:pt x="0" y="0"/>
                    </a:lnTo>
                    <a:close/>
                  </a:path>
                </a:pathLst>
              </a:custGeom>
              <a:solidFill>
                <a:srgbClr val="BE38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5" name="Freeform 7">
                <a:extLst>
                  <a:ext uri="{FF2B5EF4-FFF2-40B4-BE49-F238E27FC236}">
                    <a16:creationId xmlns:a16="http://schemas.microsoft.com/office/drawing/2014/main" id="{1C6B92D3-7AAD-B274-D0DA-E21E670E1384}"/>
                  </a:ext>
                </a:extLst>
              </p:cNvPr>
              <p:cNvSpPr>
                <a:spLocks/>
              </p:cNvSpPr>
              <p:nvPr/>
            </p:nvSpPr>
            <p:spPr bwMode="auto">
              <a:xfrm>
                <a:off x="4595297" y="3428951"/>
                <a:ext cx="1500422" cy="1501350"/>
              </a:xfrm>
              <a:custGeom>
                <a:avLst/>
                <a:gdLst>
                  <a:gd name="T0" fmla="*/ 3237 w 3237"/>
                  <a:gd name="T1" fmla="*/ 0 h 3237"/>
                  <a:gd name="T2" fmla="*/ 0 w 3237"/>
                  <a:gd name="T3" fmla="*/ 0 h 3237"/>
                  <a:gd name="T4" fmla="*/ 0 w 3237"/>
                  <a:gd name="T5" fmla="*/ 83 h 3237"/>
                  <a:gd name="T6" fmla="*/ 3 w 3237"/>
                  <a:gd name="T7" fmla="*/ 165 h 3237"/>
                  <a:gd name="T8" fmla="*/ 9 w 3237"/>
                  <a:gd name="T9" fmla="*/ 248 h 3237"/>
                  <a:gd name="T10" fmla="*/ 15 w 3237"/>
                  <a:gd name="T11" fmla="*/ 330 h 3237"/>
                  <a:gd name="T12" fmla="*/ 25 w 3237"/>
                  <a:gd name="T13" fmla="*/ 411 h 3237"/>
                  <a:gd name="T14" fmla="*/ 36 w 3237"/>
                  <a:gd name="T15" fmla="*/ 492 h 3237"/>
                  <a:gd name="T16" fmla="*/ 50 w 3237"/>
                  <a:gd name="T17" fmla="*/ 572 h 3237"/>
                  <a:gd name="T18" fmla="*/ 65 w 3237"/>
                  <a:gd name="T19" fmla="*/ 651 h 3237"/>
                  <a:gd name="T20" fmla="*/ 101 w 3237"/>
                  <a:gd name="T21" fmla="*/ 808 h 3237"/>
                  <a:gd name="T22" fmla="*/ 144 w 3237"/>
                  <a:gd name="T23" fmla="*/ 962 h 3237"/>
                  <a:gd name="T24" fmla="*/ 195 w 3237"/>
                  <a:gd name="T25" fmla="*/ 1112 h 3237"/>
                  <a:gd name="T26" fmla="*/ 253 w 3237"/>
                  <a:gd name="T27" fmla="*/ 1260 h 3237"/>
                  <a:gd name="T28" fmla="*/ 318 w 3237"/>
                  <a:gd name="T29" fmla="*/ 1404 h 3237"/>
                  <a:gd name="T30" fmla="*/ 389 w 3237"/>
                  <a:gd name="T31" fmla="*/ 1542 h 3237"/>
                  <a:gd name="T32" fmla="*/ 468 w 3237"/>
                  <a:gd name="T33" fmla="*/ 1678 h 3237"/>
                  <a:gd name="T34" fmla="*/ 553 w 3237"/>
                  <a:gd name="T35" fmla="*/ 1809 h 3237"/>
                  <a:gd name="T36" fmla="*/ 643 w 3237"/>
                  <a:gd name="T37" fmla="*/ 1935 h 3237"/>
                  <a:gd name="T38" fmla="*/ 739 w 3237"/>
                  <a:gd name="T39" fmla="*/ 2058 h 3237"/>
                  <a:gd name="T40" fmla="*/ 841 w 3237"/>
                  <a:gd name="T41" fmla="*/ 2175 h 3237"/>
                  <a:gd name="T42" fmla="*/ 946 w 3237"/>
                  <a:gd name="T43" fmla="*/ 2289 h 3237"/>
                  <a:gd name="T44" fmla="*/ 1060 w 3237"/>
                  <a:gd name="T45" fmla="*/ 2396 h 3237"/>
                  <a:gd name="T46" fmla="*/ 1177 w 3237"/>
                  <a:gd name="T47" fmla="*/ 2498 h 3237"/>
                  <a:gd name="T48" fmla="*/ 1300 w 3237"/>
                  <a:gd name="T49" fmla="*/ 2594 h 3237"/>
                  <a:gd name="T50" fmla="*/ 1426 w 3237"/>
                  <a:gd name="T51" fmla="*/ 2684 h 3237"/>
                  <a:gd name="T52" fmla="*/ 1557 w 3237"/>
                  <a:gd name="T53" fmla="*/ 2769 h 3237"/>
                  <a:gd name="T54" fmla="*/ 1693 w 3237"/>
                  <a:gd name="T55" fmla="*/ 2846 h 3237"/>
                  <a:gd name="T56" fmla="*/ 1833 w 3237"/>
                  <a:gd name="T57" fmla="*/ 2917 h 3237"/>
                  <a:gd name="T58" fmla="*/ 1975 w 3237"/>
                  <a:gd name="T59" fmla="*/ 2982 h 3237"/>
                  <a:gd name="T60" fmla="*/ 2123 w 3237"/>
                  <a:gd name="T61" fmla="*/ 3039 h 3237"/>
                  <a:gd name="T62" fmla="*/ 2273 w 3237"/>
                  <a:gd name="T63" fmla="*/ 3091 h 3237"/>
                  <a:gd name="T64" fmla="*/ 2427 w 3237"/>
                  <a:gd name="T65" fmla="*/ 3136 h 3237"/>
                  <a:gd name="T66" fmla="*/ 2584 w 3237"/>
                  <a:gd name="T67" fmla="*/ 3170 h 3237"/>
                  <a:gd name="T68" fmla="*/ 2663 w 3237"/>
                  <a:gd name="T69" fmla="*/ 3185 h 3237"/>
                  <a:gd name="T70" fmla="*/ 2743 w 3237"/>
                  <a:gd name="T71" fmla="*/ 3199 h 3237"/>
                  <a:gd name="T72" fmla="*/ 2824 w 3237"/>
                  <a:gd name="T73" fmla="*/ 3210 h 3237"/>
                  <a:gd name="T74" fmla="*/ 2905 w 3237"/>
                  <a:gd name="T75" fmla="*/ 3220 h 3237"/>
                  <a:gd name="T76" fmla="*/ 2987 w 3237"/>
                  <a:gd name="T77" fmla="*/ 3228 h 3237"/>
                  <a:gd name="T78" fmla="*/ 3070 w 3237"/>
                  <a:gd name="T79" fmla="*/ 3233 h 3237"/>
                  <a:gd name="T80" fmla="*/ 3152 w 3237"/>
                  <a:gd name="T81" fmla="*/ 3235 h 3237"/>
                  <a:gd name="T82" fmla="*/ 3237 w 3237"/>
                  <a:gd name="T83" fmla="*/ 3237 h 3237"/>
                  <a:gd name="T84" fmla="*/ 3237 w 3237"/>
                  <a:gd name="T85" fmla="*/ 3237 h 3237"/>
                  <a:gd name="T86" fmla="*/ 3237 w 3237"/>
                  <a:gd name="T87" fmla="*/ 0 h 3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37" h="3237">
                    <a:moveTo>
                      <a:pt x="3237" y="0"/>
                    </a:moveTo>
                    <a:lnTo>
                      <a:pt x="0" y="0"/>
                    </a:lnTo>
                    <a:lnTo>
                      <a:pt x="0" y="83"/>
                    </a:lnTo>
                    <a:lnTo>
                      <a:pt x="3" y="165"/>
                    </a:lnTo>
                    <a:lnTo>
                      <a:pt x="9" y="248"/>
                    </a:lnTo>
                    <a:lnTo>
                      <a:pt x="15" y="330"/>
                    </a:lnTo>
                    <a:lnTo>
                      <a:pt x="25" y="411"/>
                    </a:lnTo>
                    <a:lnTo>
                      <a:pt x="36" y="492"/>
                    </a:lnTo>
                    <a:lnTo>
                      <a:pt x="50" y="572"/>
                    </a:lnTo>
                    <a:lnTo>
                      <a:pt x="65" y="651"/>
                    </a:lnTo>
                    <a:lnTo>
                      <a:pt x="101" y="808"/>
                    </a:lnTo>
                    <a:lnTo>
                      <a:pt x="144" y="962"/>
                    </a:lnTo>
                    <a:lnTo>
                      <a:pt x="195" y="1112"/>
                    </a:lnTo>
                    <a:lnTo>
                      <a:pt x="253" y="1260"/>
                    </a:lnTo>
                    <a:lnTo>
                      <a:pt x="318" y="1404"/>
                    </a:lnTo>
                    <a:lnTo>
                      <a:pt x="389" y="1542"/>
                    </a:lnTo>
                    <a:lnTo>
                      <a:pt x="468" y="1678"/>
                    </a:lnTo>
                    <a:lnTo>
                      <a:pt x="553" y="1809"/>
                    </a:lnTo>
                    <a:lnTo>
                      <a:pt x="643" y="1935"/>
                    </a:lnTo>
                    <a:lnTo>
                      <a:pt x="739" y="2058"/>
                    </a:lnTo>
                    <a:lnTo>
                      <a:pt x="841" y="2175"/>
                    </a:lnTo>
                    <a:lnTo>
                      <a:pt x="946" y="2289"/>
                    </a:lnTo>
                    <a:lnTo>
                      <a:pt x="1060" y="2396"/>
                    </a:lnTo>
                    <a:lnTo>
                      <a:pt x="1177" y="2498"/>
                    </a:lnTo>
                    <a:lnTo>
                      <a:pt x="1300" y="2594"/>
                    </a:lnTo>
                    <a:lnTo>
                      <a:pt x="1426" y="2684"/>
                    </a:lnTo>
                    <a:lnTo>
                      <a:pt x="1557" y="2769"/>
                    </a:lnTo>
                    <a:lnTo>
                      <a:pt x="1693" y="2846"/>
                    </a:lnTo>
                    <a:lnTo>
                      <a:pt x="1833" y="2917"/>
                    </a:lnTo>
                    <a:lnTo>
                      <a:pt x="1975" y="2982"/>
                    </a:lnTo>
                    <a:lnTo>
                      <a:pt x="2123" y="3039"/>
                    </a:lnTo>
                    <a:lnTo>
                      <a:pt x="2273" y="3091"/>
                    </a:lnTo>
                    <a:lnTo>
                      <a:pt x="2427" y="3136"/>
                    </a:lnTo>
                    <a:lnTo>
                      <a:pt x="2584" y="3170"/>
                    </a:lnTo>
                    <a:lnTo>
                      <a:pt x="2663" y="3185"/>
                    </a:lnTo>
                    <a:lnTo>
                      <a:pt x="2743" y="3199"/>
                    </a:lnTo>
                    <a:lnTo>
                      <a:pt x="2824" y="3210"/>
                    </a:lnTo>
                    <a:lnTo>
                      <a:pt x="2905" y="3220"/>
                    </a:lnTo>
                    <a:lnTo>
                      <a:pt x="2987" y="3228"/>
                    </a:lnTo>
                    <a:lnTo>
                      <a:pt x="3070" y="3233"/>
                    </a:lnTo>
                    <a:lnTo>
                      <a:pt x="3152" y="3235"/>
                    </a:lnTo>
                    <a:lnTo>
                      <a:pt x="3237" y="3237"/>
                    </a:lnTo>
                    <a:lnTo>
                      <a:pt x="3237" y="3237"/>
                    </a:lnTo>
                    <a:lnTo>
                      <a:pt x="3237" y="0"/>
                    </a:lnTo>
                    <a:close/>
                  </a:path>
                </a:pathLst>
              </a:custGeom>
              <a:solidFill>
                <a:srgbClr val="633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t"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6" name="Freeform 8">
                <a:extLst>
                  <a:ext uri="{FF2B5EF4-FFF2-40B4-BE49-F238E27FC236}">
                    <a16:creationId xmlns:a16="http://schemas.microsoft.com/office/drawing/2014/main" id="{4C4A3E5C-4144-DF7C-133B-5FF82311655C}"/>
                  </a:ext>
                </a:extLst>
              </p:cNvPr>
              <p:cNvSpPr>
                <a:spLocks/>
              </p:cNvSpPr>
              <p:nvPr/>
            </p:nvSpPr>
            <p:spPr bwMode="auto">
              <a:xfrm>
                <a:off x="4595297" y="1926675"/>
                <a:ext cx="1500422" cy="1502277"/>
              </a:xfrm>
              <a:custGeom>
                <a:avLst/>
                <a:gdLst>
                  <a:gd name="T0" fmla="*/ 3237 w 3237"/>
                  <a:gd name="T1" fmla="*/ 3239 h 3239"/>
                  <a:gd name="T2" fmla="*/ 3237 w 3237"/>
                  <a:gd name="T3" fmla="*/ 0 h 3239"/>
                  <a:gd name="T4" fmla="*/ 3152 w 3237"/>
                  <a:gd name="T5" fmla="*/ 2 h 3239"/>
                  <a:gd name="T6" fmla="*/ 3070 w 3237"/>
                  <a:gd name="T7" fmla="*/ 5 h 3239"/>
                  <a:gd name="T8" fmla="*/ 2987 w 3237"/>
                  <a:gd name="T9" fmla="*/ 9 h 3239"/>
                  <a:gd name="T10" fmla="*/ 2905 w 3237"/>
                  <a:gd name="T11" fmla="*/ 17 h 3239"/>
                  <a:gd name="T12" fmla="*/ 2824 w 3237"/>
                  <a:gd name="T13" fmla="*/ 27 h 3239"/>
                  <a:gd name="T14" fmla="*/ 2743 w 3237"/>
                  <a:gd name="T15" fmla="*/ 38 h 3239"/>
                  <a:gd name="T16" fmla="*/ 2663 w 3237"/>
                  <a:gd name="T17" fmla="*/ 52 h 3239"/>
                  <a:gd name="T18" fmla="*/ 2584 w 3237"/>
                  <a:gd name="T19" fmla="*/ 67 h 3239"/>
                  <a:gd name="T20" fmla="*/ 2427 w 3237"/>
                  <a:gd name="T21" fmla="*/ 103 h 3239"/>
                  <a:gd name="T22" fmla="*/ 2273 w 3237"/>
                  <a:gd name="T23" fmla="*/ 146 h 3239"/>
                  <a:gd name="T24" fmla="*/ 2123 w 3237"/>
                  <a:gd name="T25" fmla="*/ 198 h 3239"/>
                  <a:gd name="T26" fmla="*/ 1975 w 3237"/>
                  <a:gd name="T27" fmla="*/ 255 h 3239"/>
                  <a:gd name="T28" fmla="*/ 1833 w 3237"/>
                  <a:gd name="T29" fmla="*/ 320 h 3239"/>
                  <a:gd name="T30" fmla="*/ 1693 w 3237"/>
                  <a:gd name="T31" fmla="*/ 391 h 3239"/>
                  <a:gd name="T32" fmla="*/ 1557 w 3237"/>
                  <a:gd name="T33" fmla="*/ 470 h 3239"/>
                  <a:gd name="T34" fmla="*/ 1426 w 3237"/>
                  <a:gd name="T35" fmla="*/ 553 h 3239"/>
                  <a:gd name="T36" fmla="*/ 1300 w 3237"/>
                  <a:gd name="T37" fmla="*/ 643 h 3239"/>
                  <a:gd name="T38" fmla="*/ 1177 w 3237"/>
                  <a:gd name="T39" fmla="*/ 739 h 3239"/>
                  <a:gd name="T40" fmla="*/ 1060 w 3237"/>
                  <a:gd name="T41" fmla="*/ 841 h 3239"/>
                  <a:gd name="T42" fmla="*/ 946 w 3237"/>
                  <a:gd name="T43" fmla="*/ 948 h 3239"/>
                  <a:gd name="T44" fmla="*/ 841 w 3237"/>
                  <a:gd name="T45" fmla="*/ 1062 h 3239"/>
                  <a:gd name="T46" fmla="*/ 739 w 3237"/>
                  <a:gd name="T47" fmla="*/ 1179 h 3239"/>
                  <a:gd name="T48" fmla="*/ 643 w 3237"/>
                  <a:gd name="T49" fmla="*/ 1302 h 3239"/>
                  <a:gd name="T50" fmla="*/ 553 w 3237"/>
                  <a:gd name="T51" fmla="*/ 1428 h 3239"/>
                  <a:gd name="T52" fmla="*/ 468 w 3237"/>
                  <a:gd name="T53" fmla="*/ 1559 h 3239"/>
                  <a:gd name="T54" fmla="*/ 389 w 3237"/>
                  <a:gd name="T55" fmla="*/ 1695 h 3239"/>
                  <a:gd name="T56" fmla="*/ 318 w 3237"/>
                  <a:gd name="T57" fmla="*/ 1835 h 3239"/>
                  <a:gd name="T58" fmla="*/ 253 w 3237"/>
                  <a:gd name="T59" fmla="*/ 1977 h 3239"/>
                  <a:gd name="T60" fmla="*/ 195 w 3237"/>
                  <a:gd name="T61" fmla="*/ 2125 h 3239"/>
                  <a:gd name="T62" fmla="*/ 144 w 3237"/>
                  <a:gd name="T63" fmla="*/ 2275 h 3239"/>
                  <a:gd name="T64" fmla="*/ 101 w 3237"/>
                  <a:gd name="T65" fmla="*/ 2429 h 3239"/>
                  <a:gd name="T66" fmla="*/ 65 w 3237"/>
                  <a:gd name="T67" fmla="*/ 2586 h 3239"/>
                  <a:gd name="T68" fmla="*/ 50 w 3237"/>
                  <a:gd name="T69" fmla="*/ 2665 h 3239"/>
                  <a:gd name="T70" fmla="*/ 36 w 3237"/>
                  <a:gd name="T71" fmla="*/ 2745 h 3239"/>
                  <a:gd name="T72" fmla="*/ 25 w 3237"/>
                  <a:gd name="T73" fmla="*/ 2826 h 3239"/>
                  <a:gd name="T74" fmla="*/ 15 w 3237"/>
                  <a:gd name="T75" fmla="*/ 2907 h 3239"/>
                  <a:gd name="T76" fmla="*/ 9 w 3237"/>
                  <a:gd name="T77" fmla="*/ 2989 h 3239"/>
                  <a:gd name="T78" fmla="*/ 3 w 3237"/>
                  <a:gd name="T79" fmla="*/ 3072 h 3239"/>
                  <a:gd name="T80" fmla="*/ 0 w 3237"/>
                  <a:gd name="T81" fmla="*/ 3154 h 3239"/>
                  <a:gd name="T82" fmla="*/ 0 w 3237"/>
                  <a:gd name="T83" fmla="*/ 3239 h 3239"/>
                  <a:gd name="T84" fmla="*/ 3237 w 3237"/>
                  <a:gd name="T85" fmla="*/ 3239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7" h="3239">
                    <a:moveTo>
                      <a:pt x="3237" y="3239"/>
                    </a:moveTo>
                    <a:lnTo>
                      <a:pt x="3237" y="0"/>
                    </a:lnTo>
                    <a:lnTo>
                      <a:pt x="3152" y="2"/>
                    </a:lnTo>
                    <a:lnTo>
                      <a:pt x="3070" y="5"/>
                    </a:lnTo>
                    <a:lnTo>
                      <a:pt x="2987" y="9"/>
                    </a:lnTo>
                    <a:lnTo>
                      <a:pt x="2905" y="17"/>
                    </a:lnTo>
                    <a:lnTo>
                      <a:pt x="2824" y="27"/>
                    </a:lnTo>
                    <a:lnTo>
                      <a:pt x="2743" y="38"/>
                    </a:lnTo>
                    <a:lnTo>
                      <a:pt x="2663" y="52"/>
                    </a:lnTo>
                    <a:lnTo>
                      <a:pt x="2584" y="67"/>
                    </a:lnTo>
                    <a:lnTo>
                      <a:pt x="2427" y="103"/>
                    </a:lnTo>
                    <a:lnTo>
                      <a:pt x="2273" y="146"/>
                    </a:lnTo>
                    <a:lnTo>
                      <a:pt x="2123" y="198"/>
                    </a:lnTo>
                    <a:lnTo>
                      <a:pt x="1975" y="255"/>
                    </a:lnTo>
                    <a:lnTo>
                      <a:pt x="1833" y="320"/>
                    </a:lnTo>
                    <a:lnTo>
                      <a:pt x="1693" y="391"/>
                    </a:lnTo>
                    <a:lnTo>
                      <a:pt x="1557" y="470"/>
                    </a:lnTo>
                    <a:lnTo>
                      <a:pt x="1426" y="553"/>
                    </a:lnTo>
                    <a:lnTo>
                      <a:pt x="1300" y="643"/>
                    </a:lnTo>
                    <a:lnTo>
                      <a:pt x="1177" y="739"/>
                    </a:lnTo>
                    <a:lnTo>
                      <a:pt x="1060" y="841"/>
                    </a:lnTo>
                    <a:lnTo>
                      <a:pt x="946" y="948"/>
                    </a:lnTo>
                    <a:lnTo>
                      <a:pt x="841" y="1062"/>
                    </a:lnTo>
                    <a:lnTo>
                      <a:pt x="739" y="1179"/>
                    </a:lnTo>
                    <a:lnTo>
                      <a:pt x="643" y="1302"/>
                    </a:lnTo>
                    <a:lnTo>
                      <a:pt x="553" y="1428"/>
                    </a:lnTo>
                    <a:lnTo>
                      <a:pt x="468" y="1559"/>
                    </a:lnTo>
                    <a:lnTo>
                      <a:pt x="389" y="1695"/>
                    </a:lnTo>
                    <a:lnTo>
                      <a:pt x="318" y="1835"/>
                    </a:lnTo>
                    <a:lnTo>
                      <a:pt x="253" y="1977"/>
                    </a:lnTo>
                    <a:lnTo>
                      <a:pt x="195" y="2125"/>
                    </a:lnTo>
                    <a:lnTo>
                      <a:pt x="144" y="2275"/>
                    </a:lnTo>
                    <a:lnTo>
                      <a:pt x="101" y="2429"/>
                    </a:lnTo>
                    <a:lnTo>
                      <a:pt x="65" y="2586"/>
                    </a:lnTo>
                    <a:lnTo>
                      <a:pt x="50" y="2665"/>
                    </a:lnTo>
                    <a:lnTo>
                      <a:pt x="36" y="2745"/>
                    </a:lnTo>
                    <a:lnTo>
                      <a:pt x="25" y="2826"/>
                    </a:lnTo>
                    <a:lnTo>
                      <a:pt x="15" y="2907"/>
                    </a:lnTo>
                    <a:lnTo>
                      <a:pt x="9" y="2989"/>
                    </a:lnTo>
                    <a:lnTo>
                      <a:pt x="3" y="3072"/>
                    </a:lnTo>
                    <a:lnTo>
                      <a:pt x="0" y="3154"/>
                    </a:lnTo>
                    <a:lnTo>
                      <a:pt x="0" y="3239"/>
                    </a:lnTo>
                    <a:lnTo>
                      <a:pt x="3237" y="3239"/>
                    </a:lnTo>
                    <a:close/>
                  </a:path>
                </a:pathLst>
              </a:custGeom>
              <a:solidFill>
                <a:srgbClr val="237D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7662" tIns="78830" rIns="157662" bIns="78830" numCol="1" anchor="b" anchorCtr="0" compatLnSpc="1">
                <a:prstTxWarp prst="textNoShape">
                  <a:avLst/>
                </a:prstTxWarp>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62626"/>
                  </a:solidFill>
                  <a:effectLst/>
                  <a:uLnTx/>
                  <a:uFillTx/>
                  <a:latin typeface="Open Sans"/>
                  <a:ea typeface="+mn-ea"/>
                  <a:cs typeface="+mn-cs"/>
                </a:endParaRPr>
              </a:p>
            </p:txBody>
          </p:sp>
          <p:sp>
            <p:nvSpPr>
              <p:cNvPr id="67" name="Freeform 44">
                <a:extLst>
                  <a:ext uri="{FF2B5EF4-FFF2-40B4-BE49-F238E27FC236}">
                    <a16:creationId xmlns:a16="http://schemas.microsoft.com/office/drawing/2014/main" id="{E9E5F1A8-0858-F72E-BBDB-2FB1D810E301}"/>
                  </a:ext>
                </a:extLst>
              </p:cNvPr>
              <p:cNvSpPr/>
              <p:nvPr/>
            </p:nvSpPr>
            <p:spPr>
              <a:xfrm>
                <a:off x="6095718" y="1926902"/>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15AA96">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8" name="Freeform 48">
                <a:extLst>
                  <a:ext uri="{FF2B5EF4-FFF2-40B4-BE49-F238E27FC236}">
                    <a16:creationId xmlns:a16="http://schemas.microsoft.com/office/drawing/2014/main" id="{480C34DE-C161-E1F3-C705-BEE4B63E1DDF}"/>
                  </a:ext>
                </a:extLst>
              </p:cNvPr>
              <p:cNvSpPr/>
              <p:nvPr/>
            </p:nvSpPr>
            <p:spPr>
              <a:xfrm rot="16200000">
                <a:off x="5251934" y="2584732"/>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237DB9">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69" name="Freeform 50">
                <a:extLst>
                  <a:ext uri="{FF2B5EF4-FFF2-40B4-BE49-F238E27FC236}">
                    <a16:creationId xmlns:a16="http://schemas.microsoft.com/office/drawing/2014/main" id="{F773990F-45CF-C233-B11A-4C4FBFFF3B86}"/>
                  </a:ext>
                </a:extLst>
              </p:cNvPr>
              <p:cNvSpPr/>
              <p:nvPr/>
            </p:nvSpPr>
            <p:spPr>
              <a:xfrm rot="10800000">
                <a:off x="5909763" y="3428516"/>
                <a:ext cx="186882" cy="1501558"/>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633247">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sp>
            <p:nvSpPr>
              <p:cNvPr id="70" name="Freeform 52">
                <a:extLst>
                  <a:ext uri="{FF2B5EF4-FFF2-40B4-BE49-F238E27FC236}">
                    <a16:creationId xmlns:a16="http://schemas.microsoft.com/office/drawing/2014/main" id="{5CCA3612-721A-52D4-5C27-DEA3EE79DB7C}"/>
                  </a:ext>
                </a:extLst>
              </p:cNvPr>
              <p:cNvSpPr/>
              <p:nvPr/>
            </p:nvSpPr>
            <p:spPr>
              <a:xfrm rot="5400000">
                <a:off x="6753548" y="2770686"/>
                <a:ext cx="186882" cy="1501556"/>
              </a:xfrm>
              <a:custGeom>
                <a:avLst/>
                <a:gdLst>
                  <a:gd name="connsiteX0" fmla="*/ 0 w 218406"/>
                  <a:gd name="connsiteY0" fmla="*/ 0 h 1754844"/>
                  <a:gd name="connsiteX1" fmla="*/ 38810 w 218406"/>
                  <a:gd name="connsiteY1" fmla="*/ 72 h 1754844"/>
                  <a:gd name="connsiteX2" fmla="*/ 83424 w 218406"/>
                  <a:gd name="connsiteY2" fmla="*/ 1296 h 1754844"/>
                  <a:gd name="connsiteX3" fmla="*/ 128307 w 218406"/>
                  <a:gd name="connsiteY3" fmla="*/ 4740 h 1754844"/>
                  <a:gd name="connsiteX4" fmla="*/ 172584 w 218406"/>
                  <a:gd name="connsiteY4" fmla="*/ 8654 h 1754844"/>
                  <a:gd name="connsiteX5" fmla="*/ 218406 w 218406"/>
                  <a:gd name="connsiteY5" fmla="*/ 13308 h 1754844"/>
                  <a:gd name="connsiteX6" fmla="*/ 0 w 218406"/>
                  <a:gd name="connsiteY6" fmla="*/ 1754844 h 1754844"/>
                  <a:gd name="connsiteX7" fmla="*/ 0 w 218406"/>
                  <a:gd name="connsiteY7" fmla="*/ 0 h 17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06" h="1754844">
                    <a:moveTo>
                      <a:pt x="0" y="0"/>
                    </a:moveTo>
                    <a:lnTo>
                      <a:pt x="38810" y="72"/>
                    </a:lnTo>
                    <a:lnTo>
                      <a:pt x="83424" y="1296"/>
                    </a:lnTo>
                    <a:lnTo>
                      <a:pt x="128307" y="4740"/>
                    </a:lnTo>
                    <a:lnTo>
                      <a:pt x="172584" y="8654"/>
                    </a:lnTo>
                    <a:lnTo>
                      <a:pt x="218406" y="13308"/>
                    </a:lnTo>
                    <a:lnTo>
                      <a:pt x="0" y="1754844"/>
                    </a:lnTo>
                    <a:lnTo>
                      <a:pt x="0" y="0"/>
                    </a:lnTo>
                    <a:close/>
                  </a:path>
                </a:pathLst>
              </a:custGeom>
              <a:gradFill flip="none" rotWithShape="1">
                <a:gsLst>
                  <a:gs pos="13000">
                    <a:srgbClr val="262626">
                      <a:lumMod val="0"/>
                      <a:alpha val="31000"/>
                    </a:srgbClr>
                  </a:gs>
                  <a:gs pos="65000">
                    <a:srgbClr val="BE382C">
                      <a:alpha val="0"/>
                    </a:srgbClr>
                  </a:gs>
                </a:gsLst>
                <a:lin ang="300000" scaled="0"/>
                <a:tileRect/>
              </a:gradFill>
              <a:ln w="2540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138" b="0" i="0" u="none" strike="noStrike" kern="0" cap="none" spc="0" normalizeH="0" baseline="0" noProof="0">
                  <a:ln>
                    <a:noFill/>
                  </a:ln>
                  <a:solidFill>
                    <a:srgbClr val="FFFFFF"/>
                  </a:solidFill>
                  <a:effectLst/>
                  <a:uLnTx/>
                  <a:uFillTx/>
                  <a:latin typeface="Open Sans"/>
                  <a:ea typeface="+mn-ea"/>
                  <a:cs typeface="+mn-cs"/>
                </a:endParaRPr>
              </a:p>
            </p:txBody>
          </p:sp>
        </p:grpSp>
      </p:grpSp>
      <p:sp>
        <p:nvSpPr>
          <p:cNvPr id="33" name="Title 1">
            <a:extLst>
              <a:ext uri="{FF2B5EF4-FFF2-40B4-BE49-F238E27FC236}">
                <a16:creationId xmlns:a16="http://schemas.microsoft.com/office/drawing/2014/main" id="{6F4C463A-D6D6-1824-E896-4A27C055E6F2}"/>
              </a:ext>
            </a:extLst>
          </p:cNvPr>
          <p:cNvSpPr txBox="1">
            <a:spLocks/>
          </p:cNvSpPr>
          <p:nvPr/>
        </p:nvSpPr>
        <p:spPr>
          <a:xfrm>
            <a:off x="0" y="0"/>
            <a:ext cx="12192000" cy="1439470"/>
          </a:xfrm>
          <a:prstGeom prst="rect">
            <a:avLst/>
          </a:prstGeom>
          <a:solidFill>
            <a:schemeClr val="tx1">
              <a:alpha val="66000"/>
            </a:schemeClr>
          </a:solidFill>
        </p:spPr>
        <p:txBody>
          <a:bodyPr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738188"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rPr>
              <a:t>OUR PROJECT MANAGEMENT MODEL</a:t>
            </a:r>
            <a:endParaRPr kumimoji="0" lang="en-GB" sz="4000" b="1" i="0" u="none" strike="noStrike" kern="1200" cap="none" spc="0" normalizeH="0" baseline="0" noProof="0">
              <a:ln>
                <a:noFill/>
              </a:ln>
              <a:solidFill>
                <a:prstClr val="white"/>
              </a:solidFill>
              <a:effectLst/>
              <a:uLnTx/>
              <a:uFillTx/>
              <a:latin typeface="Calibri" panose="020F0502020204030204" pitchFamily="34" charset="0"/>
              <a:ea typeface="+mj-ea"/>
              <a:cs typeface="Calibri" panose="020F0502020204030204" pitchFamily="34" charset="0"/>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09537E89-3342-3054-0967-3F798ADBE820}"/>
              </a:ext>
            </a:extLst>
          </p:cNvPr>
          <p:cNvSpPr txBox="1"/>
          <p:nvPr/>
        </p:nvSpPr>
        <p:spPr>
          <a:xfrm>
            <a:off x="360650" y="1919974"/>
            <a:ext cx="5338857" cy="3924151"/>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GRC360’s project management approach is based upon four-step model PDCA (Plan, Do, Check, Act), which is a powerful method for implementing continual development and issue solv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Plan</a:t>
            </a:r>
            <a:r>
              <a:rPr kumimoji="0" lang="en-US" sz="1800" b="0" i="0" u="sng" strike="noStrike" kern="1200" cap="none" spc="0" normalizeH="0" baseline="0" noProof="0">
                <a:ln>
                  <a:noFill/>
                </a:ln>
                <a:solidFill>
                  <a:srgbClr val="000000"/>
                </a:solidFill>
                <a:effectLst/>
                <a:uLnTx/>
                <a:uFillTx/>
                <a:latin typeface="Calibri"/>
                <a:ea typeface="+mn-ea"/>
                <a:cs typeface="+mn-cs"/>
              </a:rPr>
              <a:t>n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identification of problem, and establishment of goals and target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Do</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plan execution, and development and implementation of potential solution(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i="0" u="sng" strike="noStrike" kern="1200" cap="none" spc="0" normalizeH="0" baseline="0" noProof="0">
                <a:ln>
                  <a:noFill/>
                </a:ln>
                <a:solidFill>
                  <a:srgbClr val="000000"/>
                </a:solidFill>
                <a:effectLst/>
                <a:uLnTx/>
                <a:uFillTx/>
                <a:latin typeface="Calibri"/>
                <a:ea typeface="+mn-ea"/>
                <a:cs typeface="+mn-cs"/>
              </a:rPr>
              <a:t>Check</a:t>
            </a:r>
            <a:r>
              <a:rPr kumimoji="0" lang="en-US" sz="1800" b="0" i="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measures of the effectiveness of a solution by studying the results.</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n-US" sz="1800" b="1" u="sng" strike="noStrike" kern="1200" cap="none" spc="0" normalizeH="0" baseline="0" noProof="0">
                <a:ln>
                  <a:noFill/>
                </a:ln>
                <a:solidFill>
                  <a:srgbClr val="000000"/>
                </a:solidFill>
                <a:effectLst/>
                <a:uLnTx/>
                <a:uFillTx/>
                <a:latin typeface="Calibri"/>
                <a:ea typeface="+mn-ea"/>
                <a:cs typeface="+mn-cs"/>
              </a:rPr>
              <a:t>Act</a:t>
            </a:r>
            <a:r>
              <a:rPr kumimoji="0" lang="en-US" sz="1800" b="0" u="sng" strike="noStrike" kern="1200" cap="none" spc="0" normalizeH="0" baseline="0" noProof="0">
                <a:ln>
                  <a:noFill/>
                </a:ln>
                <a:solidFill>
                  <a:srgbClr val="000000"/>
                </a:solidFill>
                <a:effectLst/>
                <a:uLnTx/>
                <a:uFillTx/>
                <a:latin typeface="Calibri"/>
                <a:ea typeface="+mn-ea"/>
                <a:cs typeface="+mn-cs"/>
              </a:rPr>
              <a:t>ing</a:t>
            </a:r>
            <a:r>
              <a:rPr kumimoji="0" lang="en-US" sz="1800" b="0" i="0" u="none" strike="noStrike" kern="1200" cap="none" spc="0" normalizeH="0" baseline="0" noProof="0">
                <a:ln>
                  <a:noFill/>
                </a:ln>
                <a:solidFill>
                  <a:srgbClr val="000000"/>
                </a:solidFill>
                <a:effectLst/>
                <a:uLnTx/>
                <a:uFillTx/>
                <a:latin typeface="Calibri"/>
                <a:ea typeface="+mn-ea"/>
                <a:cs typeface="+mn-cs"/>
              </a:rPr>
              <a:t> involves adjustment to achieve the intended results.</a:t>
            </a:r>
          </a:p>
        </p:txBody>
      </p:sp>
      <p:sp>
        <p:nvSpPr>
          <p:cNvPr id="16" name="Freeform: Shape 15">
            <a:extLst>
              <a:ext uri="{FF2B5EF4-FFF2-40B4-BE49-F238E27FC236}">
                <a16:creationId xmlns:a16="http://schemas.microsoft.com/office/drawing/2014/main" id="{35475196-DCE2-B093-0E14-626D7FA42299}"/>
              </a:ext>
            </a:extLst>
          </p:cNvPr>
          <p:cNvSpPr/>
          <p:nvPr/>
        </p:nvSpPr>
        <p:spPr>
          <a:xfrm>
            <a:off x="6427668"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237DB9">
              <a:hueOff val="0"/>
              <a:satOff val="0"/>
              <a:lumOff val="0"/>
              <a:alphaOff val="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F59BBD1E-6DE1-F99C-9875-3BB459E4A7CB}"/>
              </a:ext>
            </a:extLst>
          </p:cNvPr>
          <p:cNvSpPr/>
          <p:nvPr/>
        </p:nvSpPr>
        <p:spPr>
          <a:xfrm>
            <a:off x="6615383"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29" name="Graphic 28" descr="Blueprint with solid fill">
            <a:extLst>
              <a:ext uri="{FF2B5EF4-FFF2-40B4-BE49-F238E27FC236}">
                <a16:creationId xmlns:a16="http://schemas.microsoft.com/office/drawing/2014/main" id="{D29BB8DC-95E6-9F50-41D1-DA3DEF9CE2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64586" y="2348071"/>
            <a:ext cx="914400" cy="914400"/>
          </a:xfrm>
          <a:prstGeom prst="rect">
            <a:avLst/>
          </a:prstGeom>
        </p:spPr>
      </p:pic>
      <p:sp>
        <p:nvSpPr>
          <p:cNvPr id="43" name="Freeform: Shape 42">
            <a:extLst>
              <a:ext uri="{FF2B5EF4-FFF2-40B4-BE49-F238E27FC236}">
                <a16:creationId xmlns:a16="http://schemas.microsoft.com/office/drawing/2014/main" id="{58C0BA61-5226-873E-9EF2-2DFED46C4675}"/>
              </a:ext>
            </a:extLst>
          </p:cNvPr>
          <p:cNvSpPr/>
          <p:nvPr/>
        </p:nvSpPr>
        <p:spPr>
          <a:xfrm>
            <a:off x="9200453" y="191997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118978"/>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4" name="Freeform: Shape 43">
            <a:extLst>
              <a:ext uri="{FF2B5EF4-FFF2-40B4-BE49-F238E27FC236}">
                <a16:creationId xmlns:a16="http://schemas.microsoft.com/office/drawing/2014/main" id="{FF9B3DDC-238C-86D3-ED99-A0D318A93C4A}"/>
              </a:ext>
            </a:extLst>
          </p:cNvPr>
          <p:cNvSpPr/>
          <p:nvPr/>
        </p:nvSpPr>
        <p:spPr>
          <a:xfrm>
            <a:off x="9388168" y="210768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5" name="Freeform: Shape 44">
            <a:extLst>
              <a:ext uri="{FF2B5EF4-FFF2-40B4-BE49-F238E27FC236}">
                <a16:creationId xmlns:a16="http://schemas.microsoft.com/office/drawing/2014/main" id="{EF578BB7-452E-CC5C-71D2-195B74FE58B5}"/>
              </a:ext>
            </a:extLst>
          </p:cNvPr>
          <p:cNvSpPr/>
          <p:nvPr/>
        </p:nvSpPr>
        <p:spPr>
          <a:xfrm>
            <a:off x="9200453" y="4307012"/>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BE382C"/>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6" name="Freeform: Shape 45">
            <a:extLst>
              <a:ext uri="{FF2B5EF4-FFF2-40B4-BE49-F238E27FC236}">
                <a16:creationId xmlns:a16="http://schemas.microsoft.com/office/drawing/2014/main" id="{4CF51261-F483-E1D9-A7B4-80571788610C}"/>
              </a:ext>
            </a:extLst>
          </p:cNvPr>
          <p:cNvSpPr/>
          <p:nvPr/>
        </p:nvSpPr>
        <p:spPr>
          <a:xfrm>
            <a:off x="9388168" y="4494723"/>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7" name="Freeform: Shape 46">
            <a:extLst>
              <a:ext uri="{FF2B5EF4-FFF2-40B4-BE49-F238E27FC236}">
                <a16:creationId xmlns:a16="http://schemas.microsoft.com/office/drawing/2014/main" id="{3AAEDAA1-1AE4-8D16-9691-5B0AF3EDBFD6}"/>
              </a:ext>
            </a:extLst>
          </p:cNvPr>
          <p:cNvSpPr/>
          <p:nvPr/>
        </p:nvSpPr>
        <p:spPr>
          <a:xfrm>
            <a:off x="6427668" y="4277034"/>
            <a:ext cx="1860092" cy="1860065"/>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633247"/>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sp>
        <p:nvSpPr>
          <p:cNvPr id="48" name="Freeform: Shape 47">
            <a:extLst>
              <a:ext uri="{FF2B5EF4-FFF2-40B4-BE49-F238E27FC236}">
                <a16:creationId xmlns:a16="http://schemas.microsoft.com/office/drawing/2014/main" id="{884A2D50-915B-257B-5648-8B4CF12B2E67}"/>
              </a:ext>
            </a:extLst>
          </p:cNvPr>
          <p:cNvSpPr/>
          <p:nvPr/>
        </p:nvSpPr>
        <p:spPr>
          <a:xfrm>
            <a:off x="6615383" y="4464745"/>
            <a:ext cx="1484663" cy="1484643"/>
          </a:xfrm>
          <a:custGeom>
            <a:avLst/>
            <a:gdLst>
              <a:gd name="connsiteX0" fmla="*/ 354314 w 708629"/>
              <a:gd name="connsiteY0" fmla="*/ 0 h 708625"/>
              <a:gd name="connsiteX1" fmla="*/ 708629 w 708629"/>
              <a:gd name="connsiteY1" fmla="*/ 354312 h 708625"/>
              <a:gd name="connsiteX2" fmla="*/ 354314 w 708629"/>
              <a:gd name="connsiteY2" fmla="*/ 708625 h 708625"/>
              <a:gd name="connsiteX3" fmla="*/ 0 w 708629"/>
              <a:gd name="connsiteY3" fmla="*/ 354312 h 708625"/>
              <a:gd name="connsiteX4" fmla="*/ 354314 w 708629"/>
              <a:gd name="connsiteY4" fmla="*/ 0 h 70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29" h="708625">
                <a:moveTo>
                  <a:pt x="354314" y="0"/>
                </a:moveTo>
                <a:cubicBezTo>
                  <a:pt x="549997" y="0"/>
                  <a:pt x="708629" y="158631"/>
                  <a:pt x="708629" y="354312"/>
                </a:cubicBezTo>
                <a:cubicBezTo>
                  <a:pt x="708629" y="549994"/>
                  <a:pt x="549997" y="708625"/>
                  <a:pt x="354314" y="708625"/>
                </a:cubicBezTo>
                <a:cubicBezTo>
                  <a:pt x="158632" y="708625"/>
                  <a:pt x="0" y="549994"/>
                  <a:pt x="0" y="354312"/>
                </a:cubicBezTo>
                <a:cubicBezTo>
                  <a:pt x="0" y="158631"/>
                  <a:pt x="158632" y="0"/>
                  <a:pt x="354314" y="0"/>
                </a:cubicBezTo>
                <a:close/>
              </a:path>
            </a:pathLst>
          </a:custGeom>
          <a:solidFill>
            <a:srgbClr val="FFFFFF">
              <a:lumMod val="95000"/>
            </a:srgbClr>
          </a:solidFill>
          <a:ln w="25400" cap="flat" cmpd="sng" algn="ctr">
            <a:noFill/>
            <a:prstDash val="solid"/>
          </a:ln>
          <a:effectLst/>
        </p:spPr>
        <p:txBody>
          <a:bodyPr spcFirstLastPara="0" vert="horz" wrap="square" lIns="599418" tIns="599418" rIns="599418" bIns="599418" numCol="1" spcCol="1270" anchor="ctr" anchorCtr="0">
            <a:noAutofit/>
          </a:bodyPr>
          <a:lstStyle/>
          <a:p>
            <a:pPr marL="0" marR="0" lvl="0" indent="0" algn="ctr" defTabSz="3200400" rtl="0" eaLnBrk="1" fontAlgn="auto" latinLnBrk="0" hangingPunct="1">
              <a:lnSpc>
                <a:spcPct val="90000"/>
              </a:lnSpc>
              <a:spcBef>
                <a:spcPct val="0"/>
              </a:spcBef>
              <a:spcAft>
                <a:spcPct val="35000"/>
              </a:spcAft>
              <a:buClrTx/>
              <a:buSzTx/>
              <a:buFontTx/>
              <a:buNone/>
              <a:tabLst/>
              <a:defRPr/>
            </a:pPr>
            <a:endParaRPr kumimoji="0" lang="en-US" sz="7200" b="0" i="0" u="none" strike="noStrike" kern="0" cap="none" spc="0" normalizeH="0" baseline="0" noProof="0">
              <a:ln>
                <a:noFill/>
              </a:ln>
              <a:solidFill>
                <a:srgbClr val="FFFFFF"/>
              </a:solidFill>
              <a:effectLst/>
              <a:uLnTx/>
              <a:uFillTx/>
              <a:latin typeface="Open Sans"/>
              <a:ea typeface="+mn-ea"/>
              <a:cs typeface="+mn-cs"/>
            </a:endParaRPr>
          </a:p>
        </p:txBody>
      </p:sp>
      <p:pic>
        <p:nvPicPr>
          <p:cNvPr id="34" name="Graphic 33" descr="Clipboard Checked with solid fill">
            <a:extLst>
              <a:ext uri="{FF2B5EF4-FFF2-40B4-BE49-F238E27FC236}">
                <a16:creationId xmlns:a16="http://schemas.microsoft.com/office/drawing/2014/main" id="{D77F3FA3-FF46-4B99-6CDC-409294B61F0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73299" y="4779844"/>
            <a:ext cx="914400" cy="914400"/>
          </a:xfrm>
          <a:prstGeom prst="rect">
            <a:avLst/>
          </a:prstGeom>
        </p:spPr>
      </p:pic>
      <p:pic>
        <p:nvPicPr>
          <p:cNvPr id="50" name="Picture 49" descr="Icon&#10;&#10;Description automatically generated">
            <a:extLst>
              <a:ext uri="{FF2B5EF4-FFF2-40B4-BE49-F238E27FC236}">
                <a16:creationId xmlns:a16="http://schemas.microsoft.com/office/drawing/2014/main" id="{F64A0632-A9C7-0318-FD32-5FB1E6146CB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746817" y="4597630"/>
            <a:ext cx="1300321" cy="1300321"/>
          </a:xfrm>
          <a:prstGeom prst="rect">
            <a:avLst/>
          </a:prstGeom>
        </p:spPr>
      </p:pic>
      <p:grpSp>
        <p:nvGrpSpPr>
          <p:cNvPr id="11" name="Group 10">
            <a:extLst>
              <a:ext uri="{FF2B5EF4-FFF2-40B4-BE49-F238E27FC236}">
                <a16:creationId xmlns:a16="http://schemas.microsoft.com/office/drawing/2014/main" id="{A76FC40B-4422-D209-2327-90B95370E2B4}"/>
              </a:ext>
            </a:extLst>
          </p:cNvPr>
          <p:cNvGrpSpPr/>
          <p:nvPr/>
        </p:nvGrpSpPr>
        <p:grpSpPr>
          <a:xfrm>
            <a:off x="9656255" y="2377037"/>
            <a:ext cx="1058312" cy="1130927"/>
            <a:chOff x="5245490" y="1941868"/>
            <a:chExt cx="1058312" cy="1130927"/>
          </a:xfrm>
          <a:solidFill>
            <a:srgbClr val="118978"/>
          </a:solidFill>
        </p:grpSpPr>
        <p:pic>
          <p:nvPicPr>
            <p:cNvPr id="7" name="Graphic 6" descr="List with solid fill">
              <a:extLst>
                <a:ext uri="{FF2B5EF4-FFF2-40B4-BE49-F238E27FC236}">
                  <a16:creationId xmlns:a16="http://schemas.microsoft.com/office/drawing/2014/main" id="{FDC3326D-9F2C-40A4-4F6B-CF6C03FA8602}"/>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5490" y="1941868"/>
              <a:ext cx="914400" cy="914400"/>
            </a:xfrm>
            <a:prstGeom prst="rect">
              <a:avLst/>
            </a:prstGeom>
          </p:spPr>
        </p:pic>
        <p:grpSp>
          <p:nvGrpSpPr>
            <p:cNvPr id="10" name="Group 9">
              <a:extLst>
                <a:ext uri="{FF2B5EF4-FFF2-40B4-BE49-F238E27FC236}">
                  <a16:creationId xmlns:a16="http://schemas.microsoft.com/office/drawing/2014/main" id="{A75E64E8-011A-048D-722A-8D3BADE5FAA5}"/>
                </a:ext>
              </a:extLst>
            </p:cNvPr>
            <p:cNvGrpSpPr/>
            <p:nvPr/>
          </p:nvGrpSpPr>
          <p:grpSpPr>
            <a:xfrm>
              <a:off x="5627098" y="2396091"/>
              <a:ext cx="676704" cy="676704"/>
              <a:chOff x="5455779" y="3886431"/>
              <a:chExt cx="676704" cy="676704"/>
            </a:xfrm>
            <a:grpFill/>
          </p:grpSpPr>
          <p:sp>
            <p:nvSpPr>
              <p:cNvPr id="9" name="Oval 8">
                <a:extLst>
                  <a:ext uri="{FF2B5EF4-FFF2-40B4-BE49-F238E27FC236}">
                    <a16:creationId xmlns:a16="http://schemas.microsoft.com/office/drawing/2014/main" id="{9951A8C4-791F-70FE-29DC-7EC050FC7C03}"/>
                  </a:ext>
                </a:extLst>
              </p:cNvPr>
              <p:cNvSpPr/>
              <p:nvPr/>
            </p:nvSpPr>
            <p:spPr>
              <a:xfrm>
                <a:off x="5675047" y="4086125"/>
                <a:ext cx="282527" cy="28252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Graphic 3" descr="Single gear with solid fill">
                <a:extLst>
                  <a:ext uri="{FF2B5EF4-FFF2-40B4-BE49-F238E27FC236}">
                    <a16:creationId xmlns:a16="http://schemas.microsoft.com/office/drawing/2014/main" id="{59F34900-AC94-4585-30EF-0CD7F58A237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55779" y="3886431"/>
                <a:ext cx="676704" cy="676704"/>
              </a:xfrm>
              <a:prstGeom prst="rect">
                <a:avLst/>
              </a:prstGeom>
            </p:spPr>
          </p:pic>
        </p:grpSp>
      </p:grpSp>
      <p:sp>
        <p:nvSpPr>
          <p:cNvPr id="25" name="Rectangle 24">
            <a:extLst>
              <a:ext uri="{FF2B5EF4-FFF2-40B4-BE49-F238E27FC236}">
                <a16:creationId xmlns:a16="http://schemas.microsoft.com/office/drawing/2014/main" id="{8A22FBD1-1F87-7761-80C5-048ADC3C9498}"/>
              </a:ext>
            </a:extLst>
          </p:cNvPr>
          <p:cNvSpPr/>
          <p:nvPr/>
        </p:nvSpPr>
        <p:spPr>
          <a:xfrm>
            <a:off x="7700887" y="3216568"/>
            <a:ext cx="2169408" cy="1421964"/>
          </a:xfrm>
          <a:prstGeom prst="rect">
            <a:avLst/>
          </a:prstGeom>
          <a:noFill/>
        </p:spPr>
        <p:txBody>
          <a:bodyPr/>
          <a:lstStyle/>
          <a:p>
            <a:endParaRPr lang="en-US"/>
          </a:p>
        </p:txBody>
      </p:sp>
      <p:sp>
        <p:nvSpPr>
          <p:cNvPr id="26" name="Arrow: Circular 25">
            <a:extLst>
              <a:ext uri="{FF2B5EF4-FFF2-40B4-BE49-F238E27FC236}">
                <a16:creationId xmlns:a16="http://schemas.microsoft.com/office/drawing/2014/main" id="{B810422D-B7FA-C84D-8041-14938CBA2FFC}"/>
              </a:ext>
            </a:extLst>
          </p:cNvPr>
          <p:cNvSpPr/>
          <p:nvPr/>
        </p:nvSpPr>
        <p:spPr>
          <a:xfrm rot="18794468">
            <a:off x="8091468" y="3260086"/>
            <a:ext cx="1325648" cy="1325648"/>
          </a:xfrm>
          <a:prstGeom prst="circularArrow">
            <a:avLst>
              <a:gd name="adj1" fmla="val 4668"/>
              <a:gd name="adj2" fmla="val 272909"/>
              <a:gd name="adj3" fmla="val 13572419"/>
              <a:gd name="adj4" fmla="val 17547112"/>
              <a:gd name="adj5" fmla="val 4847"/>
            </a:avLst>
          </a:prstGeom>
          <a:solidFill>
            <a:schemeClr val="bg1"/>
          </a:solidFill>
          <a:ln w="28575">
            <a:solidFill>
              <a:schemeClr val="bg1">
                <a:lumMod val="95000"/>
              </a:schemeClr>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Freeform: Shape 27">
            <a:extLst>
              <a:ext uri="{FF2B5EF4-FFF2-40B4-BE49-F238E27FC236}">
                <a16:creationId xmlns:a16="http://schemas.microsoft.com/office/drawing/2014/main" id="{B1EECEFF-A338-C959-B840-6FB20225C01F}"/>
              </a:ext>
            </a:extLst>
          </p:cNvPr>
          <p:cNvSpPr/>
          <p:nvPr/>
        </p:nvSpPr>
        <p:spPr>
          <a:xfrm>
            <a:off x="8885759" y="4066081"/>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BE382C"/>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CHECK</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513A0EC0-17F4-C8E9-0DFE-0DE855611B44}"/>
              </a:ext>
            </a:extLst>
          </p:cNvPr>
          <p:cNvSpPr/>
          <p:nvPr/>
        </p:nvSpPr>
        <p:spPr>
          <a:xfrm>
            <a:off x="7843873" y="407939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633247"/>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ACT</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38783147-E506-49CC-617E-4C57CE587614}"/>
              </a:ext>
            </a:extLst>
          </p:cNvPr>
          <p:cNvSpPr/>
          <p:nvPr/>
        </p:nvSpPr>
        <p:spPr>
          <a:xfrm>
            <a:off x="7842953" y="3445828"/>
            <a:ext cx="766919"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237DB9"/>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PLAN</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225CB2F-88C0-B092-9452-6ED1EF92F95E}"/>
              </a:ext>
            </a:extLst>
          </p:cNvPr>
          <p:cNvSpPr/>
          <p:nvPr/>
        </p:nvSpPr>
        <p:spPr>
          <a:xfrm>
            <a:off x="8822941" y="3423190"/>
            <a:ext cx="701644" cy="252000"/>
          </a:xfrm>
          <a:custGeom>
            <a:avLst/>
            <a:gdLst>
              <a:gd name="connsiteX0" fmla="*/ 0 w 766919"/>
              <a:gd name="connsiteY0" fmla="*/ 63911 h 383459"/>
              <a:gd name="connsiteX1" fmla="*/ 63911 w 766919"/>
              <a:gd name="connsiteY1" fmla="*/ 0 h 383459"/>
              <a:gd name="connsiteX2" fmla="*/ 703008 w 766919"/>
              <a:gd name="connsiteY2" fmla="*/ 0 h 383459"/>
              <a:gd name="connsiteX3" fmla="*/ 766919 w 766919"/>
              <a:gd name="connsiteY3" fmla="*/ 63911 h 383459"/>
              <a:gd name="connsiteX4" fmla="*/ 766919 w 766919"/>
              <a:gd name="connsiteY4" fmla="*/ 319548 h 383459"/>
              <a:gd name="connsiteX5" fmla="*/ 703008 w 766919"/>
              <a:gd name="connsiteY5" fmla="*/ 383459 h 383459"/>
              <a:gd name="connsiteX6" fmla="*/ 63911 w 766919"/>
              <a:gd name="connsiteY6" fmla="*/ 383459 h 383459"/>
              <a:gd name="connsiteX7" fmla="*/ 0 w 766919"/>
              <a:gd name="connsiteY7" fmla="*/ 319548 h 383459"/>
              <a:gd name="connsiteX8" fmla="*/ 0 w 766919"/>
              <a:gd name="connsiteY8" fmla="*/ 63911 h 3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6919" h="383459">
                <a:moveTo>
                  <a:pt x="0" y="63911"/>
                </a:moveTo>
                <a:cubicBezTo>
                  <a:pt x="0" y="28614"/>
                  <a:pt x="28614" y="0"/>
                  <a:pt x="63911" y="0"/>
                </a:cubicBezTo>
                <a:lnTo>
                  <a:pt x="703008" y="0"/>
                </a:lnTo>
                <a:cubicBezTo>
                  <a:pt x="738305" y="0"/>
                  <a:pt x="766919" y="28614"/>
                  <a:pt x="766919" y="63911"/>
                </a:cubicBezTo>
                <a:lnTo>
                  <a:pt x="766919" y="319548"/>
                </a:lnTo>
                <a:cubicBezTo>
                  <a:pt x="766919" y="354845"/>
                  <a:pt x="738305" y="383459"/>
                  <a:pt x="703008" y="383459"/>
                </a:cubicBezTo>
                <a:lnTo>
                  <a:pt x="63911" y="383459"/>
                </a:lnTo>
                <a:cubicBezTo>
                  <a:pt x="28614" y="383459"/>
                  <a:pt x="0" y="354845"/>
                  <a:pt x="0" y="319548"/>
                </a:cubicBezTo>
                <a:lnTo>
                  <a:pt x="0" y="63911"/>
                </a:lnTo>
                <a:close/>
              </a:path>
            </a:pathLst>
          </a:custGeom>
          <a:solidFill>
            <a:srgbClr val="118978"/>
          </a:solid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72059" tIns="72059" rIns="72059" bIns="7205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DO</a:t>
            </a: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754438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BD0D899D-5F0C-CE56-1F3E-7D959811CE6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a:stretch>
            <a:fillRect/>
          </a:stretch>
        </p:blipFill>
        <p:spPr/>
      </p:pic>
      <p:sp>
        <p:nvSpPr>
          <p:cNvPr id="2" name="Text Placeholder 1">
            <a:extLst>
              <a:ext uri="{FF2B5EF4-FFF2-40B4-BE49-F238E27FC236}">
                <a16:creationId xmlns:a16="http://schemas.microsoft.com/office/drawing/2014/main" id="{41F6B52C-D569-DC1B-3231-03B6A4FDD320}"/>
              </a:ext>
            </a:extLst>
          </p:cNvPr>
          <p:cNvSpPr>
            <a:spLocks noGrp="1"/>
          </p:cNvSpPr>
          <p:nvPr>
            <p:ph type="body" sz="quarter" idx="14"/>
          </p:nvPr>
        </p:nvSpPr>
        <p:spPr>
          <a:xfrm>
            <a:off x="0" y="-10885"/>
            <a:ext cx="12192000" cy="1467854"/>
          </a:xfrm>
          <a:solidFill>
            <a:schemeClr val="tx1">
              <a:lumMod val="95000"/>
              <a:lumOff val="5000"/>
              <a:alpha val="75000"/>
            </a:schemeClr>
          </a:solidFill>
        </p:spPr>
        <p:txBody>
          <a:bodyPr/>
          <a:lstStyle/>
          <a:p>
            <a:r>
              <a:rPr lang="en-US"/>
              <a:t>PROJECT TRACKING AND MONITORING</a:t>
            </a:r>
            <a:endParaRPr lang="en-GB"/>
          </a:p>
        </p:txBody>
      </p:sp>
      <p:sp>
        <p:nvSpPr>
          <p:cNvPr id="3" name="Freeform 12">
            <a:extLst>
              <a:ext uri="{FF2B5EF4-FFF2-40B4-BE49-F238E27FC236}">
                <a16:creationId xmlns:a16="http://schemas.microsoft.com/office/drawing/2014/main" id="{95B89275-7949-52E0-C0FE-CE0F6F2BA141}"/>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4" name="Picture 3">
            <a:extLst>
              <a:ext uri="{FF2B5EF4-FFF2-40B4-BE49-F238E27FC236}">
                <a16:creationId xmlns:a16="http://schemas.microsoft.com/office/drawing/2014/main" id="{0663EFD2-0AA9-3EB7-E511-0AEEFA5B7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417" y="1742999"/>
            <a:ext cx="4351177" cy="4346810"/>
          </a:xfrm>
          <a:prstGeom prst="rect">
            <a:avLst/>
          </a:prstGeom>
        </p:spPr>
      </p:pic>
      <p:sp>
        <p:nvSpPr>
          <p:cNvPr id="5" name="TextBox 4">
            <a:extLst>
              <a:ext uri="{FF2B5EF4-FFF2-40B4-BE49-F238E27FC236}">
                <a16:creationId xmlns:a16="http://schemas.microsoft.com/office/drawing/2014/main" id="{3E1DA7FF-E33F-8FA6-B10E-A514F3CE5355}"/>
              </a:ext>
            </a:extLst>
          </p:cNvPr>
          <p:cNvSpPr txBox="1"/>
          <p:nvPr/>
        </p:nvSpPr>
        <p:spPr>
          <a:xfrm>
            <a:off x="360651" y="1760924"/>
            <a:ext cx="6272312" cy="3693319"/>
          </a:xfrm>
          <a:prstGeom prst="rect">
            <a:avLst/>
          </a:prstGeom>
          <a:noFill/>
        </p:spPr>
        <p:txBody>
          <a:bodyPr wrap="square" rtlCol="0">
            <a:spAutoFit/>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ensures that the Clients’ corporate goals and business benefits are realized through a controlled, well-managed, visible set of activities to achieve the desired results.</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RC360 has an experience of delivering  full spectrum of services at every phase of project life cycle. </a:t>
            </a:r>
          </a:p>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just" defTabSz="85725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roject Manager will track, review, and regulate the progress and performance of the project; identify any areas in which changes to the plan are required, initiate the corresponding changes and publish, maintain and communicate the risks to  </a:t>
            </a:r>
            <a:r>
              <a:rPr kumimoji="0" lang="en-GB" sz="18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lient’s</a:t>
            </a:r>
            <a:r>
              <a:rPr kumimoji="0" lang="en-GB" sz="18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ment.</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71079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text, person&#10;&#10;Description automatically generated">
            <a:extLst>
              <a:ext uri="{FF2B5EF4-FFF2-40B4-BE49-F238E27FC236}">
                <a16:creationId xmlns:a16="http://schemas.microsoft.com/office/drawing/2014/main" id="{4F3B9FB6-743F-93BA-8166-E531695AC0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6042" y="-30681"/>
            <a:ext cx="12207240" cy="1498535"/>
          </a:xfrm>
          <a:prstGeom prst="rect">
            <a:avLst/>
          </a:prstGeom>
        </p:spPr>
      </p:pic>
      <p:grpSp>
        <p:nvGrpSpPr>
          <p:cNvPr id="2" name="Group 1">
            <a:extLst>
              <a:ext uri="{FF2B5EF4-FFF2-40B4-BE49-F238E27FC236}">
                <a16:creationId xmlns:a16="http://schemas.microsoft.com/office/drawing/2014/main" id="{D63372C0-F38D-514D-7B6F-66D03DB3B3E2}"/>
              </a:ext>
            </a:extLst>
          </p:cNvPr>
          <p:cNvGrpSpPr/>
          <p:nvPr/>
        </p:nvGrpSpPr>
        <p:grpSpPr>
          <a:xfrm>
            <a:off x="3015917" y="1598536"/>
            <a:ext cx="6914144" cy="4680406"/>
            <a:chOff x="1122947" y="1667458"/>
            <a:chExt cx="8402900" cy="4680406"/>
          </a:xfrm>
        </p:grpSpPr>
        <p:pic>
          <p:nvPicPr>
            <p:cNvPr id="4" name="Picture 7">
              <a:extLst>
                <a:ext uri="{FF2B5EF4-FFF2-40B4-BE49-F238E27FC236}">
                  <a16:creationId xmlns:a16="http://schemas.microsoft.com/office/drawing/2014/main" id="{B0D24A89-1511-4B81-7C42-2498BB292DF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122947" y="1884355"/>
              <a:ext cx="1236733" cy="627197"/>
            </a:xfrm>
            <a:prstGeom prst="rect">
              <a:avLst/>
            </a:prstGeom>
            <a:ln>
              <a:noFill/>
            </a:ln>
          </p:spPr>
        </p:pic>
        <p:pic>
          <p:nvPicPr>
            <p:cNvPr id="9" name="Picture 8">
              <a:extLst>
                <a:ext uri="{FF2B5EF4-FFF2-40B4-BE49-F238E27FC236}">
                  <a16:creationId xmlns:a16="http://schemas.microsoft.com/office/drawing/2014/main" id="{42048AF6-ACC7-0239-41F2-33159194FAC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1305819" y="4176066"/>
              <a:ext cx="1096384" cy="792570"/>
            </a:xfrm>
            <a:prstGeom prst="rect">
              <a:avLst/>
            </a:prstGeom>
            <a:ln>
              <a:noFill/>
            </a:ln>
          </p:spPr>
        </p:pic>
        <p:pic>
          <p:nvPicPr>
            <p:cNvPr id="11" name="Picture 9">
              <a:extLst>
                <a:ext uri="{FF2B5EF4-FFF2-40B4-BE49-F238E27FC236}">
                  <a16:creationId xmlns:a16="http://schemas.microsoft.com/office/drawing/2014/main" id="{CADD4B3A-32FD-BD52-CB8B-C33D3852E1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a:xfrm>
              <a:off x="1305819" y="5553828"/>
              <a:ext cx="993722" cy="744141"/>
            </a:xfrm>
            <a:prstGeom prst="rect">
              <a:avLst/>
            </a:prstGeom>
          </p:spPr>
        </p:pic>
        <p:pic>
          <p:nvPicPr>
            <p:cNvPr id="13" name="Picture 10">
              <a:extLst>
                <a:ext uri="{FF2B5EF4-FFF2-40B4-BE49-F238E27FC236}">
                  <a16:creationId xmlns:a16="http://schemas.microsoft.com/office/drawing/2014/main" id="{A582071A-4EA8-9317-54D5-A3B25DE73E0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a:xfrm>
              <a:off x="1482502" y="2982976"/>
              <a:ext cx="693972" cy="807865"/>
            </a:xfrm>
            <a:prstGeom prst="rect">
              <a:avLst/>
            </a:prstGeom>
            <a:ln>
              <a:noFill/>
            </a:ln>
          </p:spPr>
        </p:pic>
        <p:sp>
          <p:nvSpPr>
            <p:cNvPr id="15" name="Rectangle: Rounded Corners 14">
              <a:extLst>
                <a:ext uri="{FF2B5EF4-FFF2-40B4-BE49-F238E27FC236}">
                  <a16:creationId xmlns:a16="http://schemas.microsoft.com/office/drawing/2014/main" id="{7AC65CC2-99B4-4390-F1D3-64128B31610E}"/>
                </a:ext>
              </a:extLst>
            </p:cNvPr>
            <p:cNvSpPr/>
            <p:nvPr/>
          </p:nvSpPr>
          <p:spPr>
            <a:xfrm>
              <a:off x="1122947" y="1667458"/>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Rectangle: Rounded Corners 16">
              <a:extLst>
                <a:ext uri="{FF2B5EF4-FFF2-40B4-BE49-F238E27FC236}">
                  <a16:creationId xmlns:a16="http://schemas.microsoft.com/office/drawing/2014/main" id="{824FCBA8-AB2C-801A-3DD5-EC14E602FF6E}"/>
                </a:ext>
              </a:extLst>
            </p:cNvPr>
            <p:cNvSpPr/>
            <p:nvPr/>
          </p:nvSpPr>
          <p:spPr>
            <a:xfrm>
              <a:off x="1122947" y="2852651"/>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Rectangle: Rounded Corners 18">
              <a:extLst>
                <a:ext uri="{FF2B5EF4-FFF2-40B4-BE49-F238E27FC236}">
                  <a16:creationId xmlns:a16="http://schemas.microsoft.com/office/drawing/2014/main" id="{270EE30D-AA9F-F155-0BFE-AA119A3A0F80}"/>
                </a:ext>
              </a:extLst>
            </p:cNvPr>
            <p:cNvSpPr/>
            <p:nvPr/>
          </p:nvSpPr>
          <p:spPr>
            <a:xfrm>
              <a:off x="1122947" y="4037843"/>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Rectangle: Rounded Corners 21">
              <a:extLst>
                <a:ext uri="{FF2B5EF4-FFF2-40B4-BE49-F238E27FC236}">
                  <a16:creationId xmlns:a16="http://schemas.microsoft.com/office/drawing/2014/main" id="{6765B1E8-4B6A-F8E1-D609-17F697E2FFF0}"/>
                </a:ext>
              </a:extLst>
            </p:cNvPr>
            <p:cNvSpPr/>
            <p:nvPr/>
          </p:nvSpPr>
          <p:spPr>
            <a:xfrm>
              <a:off x="1122947" y="5223035"/>
              <a:ext cx="8402900" cy="1060250"/>
            </a:xfrm>
            <a:prstGeom prst="round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54105E35-7222-8CBA-002A-160F0F151567}"/>
                </a:ext>
              </a:extLst>
            </p:cNvPr>
            <p:cNvSpPr txBox="1"/>
            <p:nvPr/>
          </p:nvSpPr>
          <p:spPr>
            <a:xfrm>
              <a:off x="2722349" y="1768185"/>
              <a:ext cx="2915571"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 Plan</a:t>
              </a:r>
            </a:p>
          </p:txBody>
        </p:sp>
        <p:sp>
          <p:nvSpPr>
            <p:cNvPr id="26" name="TextBox 25">
              <a:extLst>
                <a:ext uri="{FF2B5EF4-FFF2-40B4-BE49-F238E27FC236}">
                  <a16:creationId xmlns:a16="http://schemas.microsoft.com/office/drawing/2014/main" id="{3A2776E0-08C8-16C9-1BEE-232FB018A83C}"/>
                </a:ext>
              </a:extLst>
            </p:cNvPr>
            <p:cNvSpPr txBox="1"/>
            <p:nvPr/>
          </p:nvSpPr>
          <p:spPr>
            <a:xfrm>
              <a:off x="2722349" y="2067846"/>
              <a:ext cx="6328147" cy="871585"/>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n elaborate project plan comprising of Gantt chart and project dashboard will be developed and updated by GRC360.</a:t>
              </a:r>
            </a:p>
          </p:txBody>
        </p:sp>
        <p:sp>
          <p:nvSpPr>
            <p:cNvPr id="28" name="TextBox 27">
              <a:extLst>
                <a:ext uri="{FF2B5EF4-FFF2-40B4-BE49-F238E27FC236}">
                  <a16:creationId xmlns:a16="http://schemas.microsoft.com/office/drawing/2014/main" id="{E6BDBB91-CC32-E5E2-B260-6EA9E4E14372}"/>
                </a:ext>
              </a:extLst>
            </p:cNvPr>
            <p:cNvSpPr txBox="1"/>
            <p:nvPr/>
          </p:nvSpPr>
          <p:spPr>
            <a:xfrm>
              <a:off x="2722348" y="2952192"/>
              <a:ext cx="3973753" cy="35208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 Breakdown Structure</a:t>
              </a:r>
            </a:p>
          </p:txBody>
        </p:sp>
        <p:sp>
          <p:nvSpPr>
            <p:cNvPr id="30" name="TextBox 29">
              <a:extLst>
                <a:ext uri="{FF2B5EF4-FFF2-40B4-BE49-F238E27FC236}">
                  <a16:creationId xmlns:a16="http://schemas.microsoft.com/office/drawing/2014/main" id="{55F67109-4A97-9B81-75B7-4A9EE67D60A4}"/>
                </a:ext>
              </a:extLst>
            </p:cNvPr>
            <p:cNvSpPr txBox="1"/>
            <p:nvPr/>
          </p:nvSpPr>
          <p:spPr>
            <a:xfrm>
              <a:off x="2722349" y="3266938"/>
              <a:ext cx="6472060"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BS of project tasks will be developed that will cover task dependencies, responsibilities and duration.</a:t>
              </a:r>
            </a:p>
          </p:txBody>
        </p:sp>
        <p:sp>
          <p:nvSpPr>
            <p:cNvPr id="32" name="TextBox 31">
              <a:extLst>
                <a:ext uri="{FF2B5EF4-FFF2-40B4-BE49-F238E27FC236}">
                  <a16:creationId xmlns:a16="http://schemas.microsoft.com/office/drawing/2014/main" id="{CDA8B962-4EEA-00A9-7C30-ACB9C1408A25}"/>
                </a:ext>
              </a:extLst>
            </p:cNvPr>
            <p:cNvSpPr txBox="1"/>
            <p:nvPr/>
          </p:nvSpPr>
          <p:spPr>
            <a:xfrm>
              <a:off x="2722349" y="4106938"/>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cation Plan</a:t>
              </a:r>
            </a:p>
          </p:txBody>
        </p:sp>
        <p:sp>
          <p:nvSpPr>
            <p:cNvPr id="35" name="TextBox 34">
              <a:extLst>
                <a:ext uri="{FF2B5EF4-FFF2-40B4-BE49-F238E27FC236}">
                  <a16:creationId xmlns:a16="http://schemas.microsoft.com/office/drawing/2014/main" id="{7AC80D6F-B278-CCAF-1BF9-0B866617362A}"/>
                </a:ext>
              </a:extLst>
            </p:cNvPr>
            <p:cNvSpPr txBox="1"/>
            <p:nvPr/>
          </p:nvSpPr>
          <p:spPr>
            <a:xfrm>
              <a:off x="2722349" y="4445989"/>
              <a:ext cx="6101526" cy="606198"/>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 communication plan to ensure timely project related information disseminate to relevant stakeholders.</a:t>
              </a:r>
            </a:p>
          </p:txBody>
        </p:sp>
        <p:sp>
          <p:nvSpPr>
            <p:cNvPr id="37" name="TextBox 36">
              <a:extLst>
                <a:ext uri="{FF2B5EF4-FFF2-40B4-BE49-F238E27FC236}">
                  <a16:creationId xmlns:a16="http://schemas.microsoft.com/office/drawing/2014/main" id="{BBBFAEAC-F860-5C02-90EF-183652ACF49A}"/>
                </a:ext>
              </a:extLst>
            </p:cNvPr>
            <p:cNvSpPr txBox="1"/>
            <p:nvPr/>
          </p:nvSpPr>
          <p:spPr>
            <a:xfrm>
              <a:off x="2722349" y="5400265"/>
              <a:ext cx="2926458" cy="348841"/>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RACI Matrix</a:t>
              </a:r>
            </a:p>
          </p:txBody>
        </p:sp>
        <p:sp>
          <p:nvSpPr>
            <p:cNvPr id="39" name="TextBox 38">
              <a:extLst>
                <a:ext uri="{FF2B5EF4-FFF2-40B4-BE49-F238E27FC236}">
                  <a16:creationId xmlns:a16="http://schemas.microsoft.com/office/drawing/2014/main" id="{91D6A609-36C6-2198-72D8-87A46159B66D}"/>
                </a:ext>
              </a:extLst>
            </p:cNvPr>
            <p:cNvSpPr txBox="1"/>
            <p:nvPr/>
          </p:nvSpPr>
          <p:spPr>
            <a:xfrm>
              <a:off x="2722348" y="5736030"/>
              <a:ext cx="5607969" cy="611834"/>
            </a:xfrm>
            <a:prstGeom prst="rect">
              <a:avLst/>
            </a:prstGeom>
            <a:noFill/>
            <a:ln>
              <a:noFill/>
            </a:ln>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learly defined roles and responsibilities will be developed.</a:t>
              </a:r>
            </a:p>
          </p:txBody>
        </p:sp>
      </p:grpSp>
      <p:sp>
        <p:nvSpPr>
          <p:cNvPr id="3" name="Text Placeholder 2">
            <a:extLst>
              <a:ext uri="{FF2B5EF4-FFF2-40B4-BE49-F238E27FC236}">
                <a16:creationId xmlns:a16="http://schemas.microsoft.com/office/drawing/2014/main" id="{DBB0A2E1-50AF-E104-9FF9-0B92A9820860}"/>
              </a:ext>
            </a:extLst>
          </p:cNvPr>
          <p:cNvSpPr>
            <a:spLocks noGrp="1"/>
          </p:cNvSpPr>
          <p:nvPr>
            <p:ph type="body" sz="quarter" idx="14"/>
          </p:nvPr>
        </p:nvSpPr>
        <p:spPr>
          <a:xfrm>
            <a:off x="0" y="-30681"/>
            <a:ext cx="12192000" cy="1498535"/>
          </a:xfrm>
          <a:solidFill>
            <a:schemeClr val="tx1">
              <a:lumMod val="95000"/>
              <a:lumOff val="5000"/>
              <a:alpha val="75000"/>
            </a:schemeClr>
          </a:solidFill>
        </p:spPr>
        <p:txBody>
          <a:bodyPr/>
          <a:lstStyle/>
          <a:p>
            <a:r>
              <a:rPr lang="en-US"/>
              <a:t>PROJECT DOCUMENTATION </a:t>
            </a:r>
            <a:endParaRPr lang="en-GB"/>
          </a:p>
        </p:txBody>
      </p:sp>
      <p:sp>
        <p:nvSpPr>
          <p:cNvPr id="5" name="Freeform 12">
            <a:extLst>
              <a:ext uri="{FF2B5EF4-FFF2-40B4-BE49-F238E27FC236}">
                <a16:creationId xmlns:a16="http://schemas.microsoft.com/office/drawing/2014/main" id="{3A377BB2-D16B-9D3D-F9C7-FDE6D5D30BE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 name="Rectangle 6">
            <a:extLst>
              <a:ext uri="{FF2B5EF4-FFF2-40B4-BE49-F238E27FC236}">
                <a16:creationId xmlns:a16="http://schemas.microsoft.com/office/drawing/2014/main" id="{AC7F70D6-F0B3-6B35-5486-F3EA66C8187A}"/>
              </a:ext>
            </a:extLst>
          </p:cNvPr>
          <p:cNvSpPr/>
          <p:nvPr/>
        </p:nvSpPr>
        <p:spPr>
          <a:xfrm>
            <a:off x="-16042" y="1504865"/>
            <a:ext cx="12207240" cy="97735"/>
          </a:xfrm>
          <a:prstGeom prst="rect">
            <a:avLst/>
          </a:prstGeom>
          <a:solidFill>
            <a:srgbClr val="CCB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38982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C1C1C"/>
        </a:solidFill>
        <a:effectLst/>
      </p:bgPr>
    </p:bg>
    <p:spTree>
      <p:nvGrpSpPr>
        <p:cNvPr id="1" name="">
          <a:extLst>
            <a:ext uri="{FF2B5EF4-FFF2-40B4-BE49-F238E27FC236}">
              <a16:creationId xmlns:a16="http://schemas.microsoft.com/office/drawing/2014/main" id="{63B465CE-FE0E-BF19-3422-7788775DDEFF}"/>
            </a:ext>
          </a:extLst>
        </p:cNvPr>
        <p:cNvGrpSpPr/>
        <p:nvPr/>
      </p:nvGrpSpPr>
      <p:grpSpPr>
        <a:xfrm>
          <a:off x="0" y="0"/>
          <a:ext cx="0" cy="0"/>
          <a:chOff x="0" y="0"/>
          <a:chExt cx="0" cy="0"/>
        </a:xfrm>
      </p:grpSpPr>
      <p:grpSp>
        <p:nvGrpSpPr>
          <p:cNvPr id="4" name="Group 4">
            <a:extLst>
              <a:ext uri="{FF2B5EF4-FFF2-40B4-BE49-F238E27FC236}">
                <a16:creationId xmlns:a16="http://schemas.microsoft.com/office/drawing/2014/main" id="{B8190883-6B59-E794-E823-50F0E0B87D8D}"/>
              </a:ext>
            </a:extLst>
          </p:cNvPr>
          <p:cNvGrpSpPr/>
          <p:nvPr/>
        </p:nvGrpSpPr>
        <p:grpSpPr>
          <a:xfrm>
            <a:off x="643944" y="2944715"/>
            <a:ext cx="10818253" cy="2661569"/>
            <a:chOff x="0" y="85725"/>
            <a:chExt cx="11531402" cy="3785342"/>
          </a:xfrm>
        </p:grpSpPr>
        <p:sp>
          <p:nvSpPr>
            <p:cNvPr id="5" name="TextBox 5">
              <a:extLst>
                <a:ext uri="{FF2B5EF4-FFF2-40B4-BE49-F238E27FC236}">
                  <a16:creationId xmlns:a16="http://schemas.microsoft.com/office/drawing/2014/main" id="{AA6CD44D-84E7-60CA-C057-726ED321976D}"/>
                </a:ext>
              </a:extLst>
            </p:cNvPr>
            <p:cNvSpPr txBox="1"/>
            <p:nvPr/>
          </p:nvSpPr>
          <p:spPr>
            <a:xfrm>
              <a:off x="2904" y="85725"/>
              <a:ext cx="11525594"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UR TEAM</a:t>
              </a:r>
            </a:p>
          </p:txBody>
        </p:sp>
        <p:sp>
          <p:nvSpPr>
            <p:cNvPr id="6" name="TextBox 6">
              <a:extLst>
                <a:ext uri="{FF2B5EF4-FFF2-40B4-BE49-F238E27FC236}">
                  <a16:creationId xmlns:a16="http://schemas.microsoft.com/office/drawing/2014/main" id="{F203B4F2-2151-C411-99AA-15016E45044A}"/>
                </a:ext>
              </a:extLst>
            </p:cNvPr>
            <p:cNvSpPr txBox="1"/>
            <p:nvPr/>
          </p:nvSpPr>
          <p:spPr>
            <a:xfrm>
              <a:off x="2904" y="1219199"/>
              <a:ext cx="11528498" cy="465631"/>
            </a:xfrm>
            <a:prstGeom prst="rect">
              <a:avLst/>
            </a:prstGeom>
          </p:spPr>
          <p:txBody>
            <a:bodyPr lIns="0" tIns="0" rIns="0" bIns="0" rtlCol="0" anchor="t">
              <a:spAutoFit/>
            </a:bodyPr>
            <a:lstStyle/>
            <a:p>
              <a:pPr marL="0" marR="0" lvl="0" indent="0" algn="l" defTabSz="857250" rtl="0" eaLnBrk="1" fontAlgn="auto" latinLnBrk="0" hangingPunct="1">
                <a:lnSpc>
                  <a:spcPts val="2699"/>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xperienced Certified Professionals</a:t>
              </a:r>
            </a:p>
          </p:txBody>
        </p:sp>
        <p:sp>
          <p:nvSpPr>
            <p:cNvPr id="7" name="TextBox 7">
              <a:extLst>
                <a:ext uri="{FF2B5EF4-FFF2-40B4-BE49-F238E27FC236}">
                  <a16:creationId xmlns:a16="http://schemas.microsoft.com/office/drawing/2014/main" id="{FB7E339F-E233-0BF5-78EC-F58FDDF74F14}"/>
                </a:ext>
              </a:extLst>
            </p:cNvPr>
            <p:cNvSpPr txBox="1"/>
            <p:nvPr/>
          </p:nvSpPr>
          <p:spPr>
            <a:xfrm>
              <a:off x="0" y="2503171"/>
              <a:ext cx="11528498" cy="1367896"/>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dirty="0">
                  <a:ln>
                    <a:noFill/>
                  </a:ln>
                  <a:solidFill>
                    <a:srgbClr val="EDE6E2"/>
                  </a:solidFill>
                  <a:effectLst/>
                  <a:uLnTx/>
                  <a:uFillTx/>
                  <a:latin typeface="Calibri" panose="020F0502020204030204" pitchFamily="34" charset="0"/>
                  <a:ea typeface="+mn-ea"/>
                  <a:cs typeface="Calibri" panose="020F0502020204030204" pitchFamily="34" charset="0"/>
                </a:rPr>
                <a:t>Our team members are seasoned consultants having extensive and proven experience of providing premium consulting services to Clients ranging from Financial to governments and spanning from Asia, Middle East to Europe.</a:t>
              </a:r>
            </a:p>
          </p:txBody>
        </p:sp>
        <p:sp>
          <p:nvSpPr>
            <p:cNvPr id="8" name="AutoShape 8">
              <a:extLst>
                <a:ext uri="{FF2B5EF4-FFF2-40B4-BE49-F238E27FC236}">
                  <a16:creationId xmlns:a16="http://schemas.microsoft.com/office/drawing/2014/main" id="{FCFC6D2C-C3C4-30AB-E3E4-EFC7BBF6717D}"/>
                </a:ext>
              </a:extLst>
            </p:cNvPr>
            <p:cNvSpPr/>
            <p:nvPr/>
          </p:nvSpPr>
          <p:spPr>
            <a:xfrm>
              <a:off x="2904" y="2059093"/>
              <a:ext cx="677333" cy="149013"/>
            </a:xfrm>
            <a:prstGeom prst="rect">
              <a:avLst/>
            </a:prstGeom>
            <a:solidFill>
              <a:srgbClr val="CCB76A"/>
            </a:solidFill>
          </p:spPr>
          <p:txBody>
            <a:bodyPr/>
            <a:lstStyle/>
            <a:p>
              <a:endParaRPr lang="en-US"/>
            </a:p>
          </p:txBody>
        </p:sp>
      </p:grpSp>
      <p:pic>
        <p:nvPicPr>
          <p:cNvPr id="9" name="Picture 2">
            <a:extLst>
              <a:ext uri="{FF2B5EF4-FFF2-40B4-BE49-F238E27FC236}">
                <a16:creationId xmlns:a16="http://schemas.microsoft.com/office/drawing/2014/main" id="{DEA99B1C-7476-898B-9619-4576562B4BBC}"/>
              </a:ext>
            </a:extLst>
          </p:cNvPr>
          <p:cNvPicPr>
            <a:picLocks noChangeAspect="1"/>
          </p:cNvPicPr>
          <p:nvPr/>
        </p:nvPicPr>
        <p:blipFill rotWithShape="1">
          <a:blip r:embed="rId4" cstate="print">
            <a:alphaModFix amt="80000"/>
            <a:extLst>
              <a:ext uri="{28A0092B-C50C-407E-A947-70E740481C1C}">
                <a14:useLocalDpi xmlns:a14="http://schemas.microsoft.com/office/drawing/2010/main" val="0"/>
              </a:ext>
            </a:extLst>
          </a:blip>
          <a:srcRect r="-364"/>
          <a:stretch/>
        </p:blipFill>
        <p:spPr>
          <a:xfrm>
            <a:off x="0" y="-1094"/>
            <a:ext cx="12192000" cy="2505620"/>
          </a:xfrm>
          <a:prstGeom prst="rect">
            <a:avLst/>
          </a:prstGeom>
        </p:spPr>
      </p:pic>
      <p:sp>
        <p:nvSpPr>
          <p:cNvPr id="3" name="Freeform 12">
            <a:extLst>
              <a:ext uri="{FF2B5EF4-FFF2-40B4-BE49-F238E27FC236}">
                <a16:creationId xmlns:a16="http://schemas.microsoft.com/office/drawing/2014/main" id="{69B617B1-5A7F-0158-44F8-743391E449DF}"/>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2" name="Freeform 11">
            <a:extLst>
              <a:ext uri="{FF2B5EF4-FFF2-40B4-BE49-F238E27FC236}">
                <a16:creationId xmlns:a16="http://schemas.microsoft.com/office/drawing/2014/main" id="{E41A8804-95BA-9C37-48DC-1E022FDC999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9542599"/>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12197"/>
            <a:ext cx="2952750" cy="6309360"/>
          </a:xfrm>
          <a:prstGeom prst="rect">
            <a:avLst/>
          </a:prstGeom>
          <a:solidFill>
            <a:srgbClr val="20212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4"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20585" y="388744"/>
            <a:ext cx="2847903" cy="5916502"/>
          </a:xfrm>
          <a:prstGeom prst="rect">
            <a:avLst/>
          </a:prstGeom>
        </p:spPr>
      </p:pic>
      <p:sp>
        <p:nvSpPr>
          <p:cNvPr id="15" name="Freeform 11">
            <a:extLst>
              <a:ext uri="{FF2B5EF4-FFF2-40B4-BE49-F238E27FC236}">
                <a16:creationId xmlns:a16="http://schemas.microsoft.com/office/drawing/2014/main" id="{1860FFF8-EB38-D7A1-D017-234F91A4AB9C}"/>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pic>
        <p:nvPicPr>
          <p:cNvPr id="20" name="Picture 10">
            <a:extLst>
              <a:ext uri="{FF2B5EF4-FFF2-40B4-BE49-F238E27FC236}">
                <a16:creationId xmlns:a16="http://schemas.microsoft.com/office/drawing/2014/main" id="{1BC1F949-A5B5-3CFB-B182-CAC348BF831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7085366" y="2447536"/>
            <a:ext cx="1027298" cy="1027298"/>
          </a:xfrm>
          <a:prstGeom prst="rect">
            <a:avLst/>
          </a:prstGeom>
        </p:spPr>
      </p:pic>
      <p:pic>
        <p:nvPicPr>
          <p:cNvPr id="24" name="Picture 11">
            <a:extLst>
              <a:ext uri="{FF2B5EF4-FFF2-40B4-BE49-F238E27FC236}">
                <a16:creationId xmlns:a16="http://schemas.microsoft.com/office/drawing/2014/main" id="{6FD2AB91-B294-CCD4-3FAD-B70FAD343E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5738329" y="2469768"/>
            <a:ext cx="1181854" cy="1077559"/>
          </a:xfrm>
          <a:prstGeom prst="rect">
            <a:avLst/>
          </a:prstGeom>
        </p:spPr>
      </p:pic>
      <p:pic>
        <p:nvPicPr>
          <p:cNvPr id="26" name="Picture 12">
            <a:extLst>
              <a:ext uri="{FF2B5EF4-FFF2-40B4-BE49-F238E27FC236}">
                <a16:creationId xmlns:a16="http://schemas.microsoft.com/office/drawing/2014/main" id="{2E062396-8FB1-5780-51A8-E55C89A26B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27041" y="3168877"/>
            <a:ext cx="1019202" cy="1019202"/>
          </a:xfrm>
          <a:prstGeom prst="rect">
            <a:avLst/>
          </a:prstGeom>
        </p:spPr>
      </p:pic>
      <p:pic>
        <p:nvPicPr>
          <p:cNvPr id="29" name="Picture 13">
            <a:extLst>
              <a:ext uri="{FF2B5EF4-FFF2-40B4-BE49-F238E27FC236}">
                <a16:creationId xmlns:a16="http://schemas.microsoft.com/office/drawing/2014/main" id="{8C9B5AE1-9F3E-25E2-906B-51262A425A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601451" y="4350441"/>
            <a:ext cx="1475929" cy="1152431"/>
          </a:xfrm>
          <a:prstGeom prst="rect">
            <a:avLst/>
          </a:prstGeom>
        </p:spPr>
      </p:pic>
      <p:pic>
        <p:nvPicPr>
          <p:cNvPr id="32" name="Picture 14">
            <a:extLst>
              <a:ext uri="{FF2B5EF4-FFF2-40B4-BE49-F238E27FC236}">
                <a16:creationId xmlns:a16="http://schemas.microsoft.com/office/drawing/2014/main" id="{1E8AC5AA-A703-63E7-FCCE-ADD731334DDE}"/>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810724" y="4409008"/>
            <a:ext cx="1483377" cy="1152432"/>
          </a:xfrm>
          <a:prstGeom prst="rect">
            <a:avLst/>
          </a:prstGeom>
        </p:spPr>
      </p:pic>
      <p:pic>
        <p:nvPicPr>
          <p:cNvPr id="37" name="Picture 15">
            <a:extLst>
              <a:ext uri="{FF2B5EF4-FFF2-40B4-BE49-F238E27FC236}">
                <a16:creationId xmlns:a16="http://schemas.microsoft.com/office/drawing/2014/main" id="{73323817-E061-5AEB-B3CF-CCE7098DBDD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a:xfrm>
            <a:off x="3646970" y="3189491"/>
            <a:ext cx="1019201" cy="1019201"/>
          </a:xfrm>
          <a:prstGeom prst="rect">
            <a:avLst/>
          </a:prstGeom>
        </p:spPr>
      </p:pic>
      <p:pic>
        <p:nvPicPr>
          <p:cNvPr id="41" name="Picture 16">
            <a:extLst>
              <a:ext uri="{FF2B5EF4-FFF2-40B4-BE49-F238E27FC236}">
                <a16:creationId xmlns:a16="http://schemas.microsoft.com/office/drawing/2014/main" id="{0C6883BD-2D06-3955-FAB6-17AD4CC1BB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a:xfrm>
            <a:off x="7115705" y="4417825"/>
            <a:ext cx="1422843" cy="1100291"/>
          </a:xfrm>
          <a:prstGeom prst="rect">
            <a:avLst/>
          </a:prstGeom>
        </p:spPr>
      </p:pic>
      <p:pic>
        <p:nvPicPr>
          <p:cNvPr id="43" name="Picture 17">
            <a:extLst>
              <a:ext uri="{FF2B5EF4-FFF2-40B4-BE49-F238E27FC236}">
                <a16:creationId xmlns:a16="http://schemas.microsoft.com/office/drawing/2014/main" id="{0FB676C5-3CAF-9DEE-2BFD-EA0221DF724F}"/>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a:xfrm>
            <a:off x="3456563" y="4454031"/>
            <a:ext cx="1355367" cy="1048841"/>
          </a:xfrm>
          <a:prstGeom prst="rect">
            <a:avLst/>
          </a:prstGeom>
        </p:spPr>
      </p:pic>
      <p:pic>
        <p:nvPicPr>
          <p:cNvPr id="45" name="Picture 44">
            <a:extLst>
              <a:ext uri="{FF2B5EF4-FFF2-40B4-BE49-F238E27FC236}">
                <a16:creationId xmlns:a16="http://schemas.microsoft.com/office/drawing/2014/main" id="{B36F5197-9F61-7D29-A89C-423D7B7AE61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13078" y="1860914"/>
            <a:ext cx="1380127" cy="947964"/>
          </a:xfrm>
          <a:prstGeom prst="rect">
            <a:avLst/>
          </a:prstGeom>
        </p:spPr>
      </p:pic>
      <p:pic>
        <p:nvPicPr>
          <p:cNvPr id="47" name="Picture 46">
            <a:extLst>
              <a:ext uri="{FF2B5EF4-FFF2-40B4-BE49-F238E27FC236}">
                <a16:creationId xmlns:a16="http://schemas.microsoft.com/office/drawing/2014/main" id="{A2E7EA6E-B00B-1F46-4129-24C3241D2EF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1465" y="2447578"/>
            <a:ext cx="839801" cy="755820"/>
          </a:xfrm>
          <a:prstGeom prst="rect">
            <a:avLst/>
          </a:prstGeom>
        </p:spPr>
      </p:pic>
      <p:pic>
        <p:nvPicPr>
          <p:cNvPr id="49" name="Picture 48">
            <a:extLst>
              <a:ext uri="{FF2B5EF4-FFF2-40B4-BE49-F238E27FC236}">
                <a16:creationId xmlns:a16="http://schemas.microsoft.com/office/drawing/2014/main" id="{4425D3AA-288B-47D9-28CF-ADAAD7B282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25218" y="1754823"/>
            <a:ext cx="1740541" cy="720830"/>
          </a:xfrm>
          <a:prstGeom prst="rect">
            <a:avLst/>
          </a:prstGeom>
        </p:spPr>
      </p:pic>
      <p:sp>
        <p:nvSpPr>
          <p:cNvPr id="3" name="TextBox 7">
            <a:extLst>
              <a:ext uri="{FF2B5EF4-FFF2-40B4-BE49-F238E27FC236}">
                <a16:creationId xmlns:a16="http://schemas.microsoft.com/office/drawing/2014/main" id="{E9A01113-3042-B3DC-33C8-AB3B0A4459A9}"/>
              </a:ext>
            </a:extLst>
          </p:cNvPr>
          <p:cNvSpPr txBox="1"/>
          <p:nvPr/>
        </p:nvSpPr>
        <p:spPr>
          <a:xfrm>
            <a:off x="3986485" y="1311829"/>
            <a:ext cx="7347365" cy="214802"/>
          </a:xfrm>
          <a:prstGeom prst="rect">
            <a:avLst/>
          </a:prstGeom>
        </p:spPr>
        <p:txBody>
          <a:bodyPr lIns="0" tIns="0" rIns="0" bIns="0" rtlCol="0" anchor="t">
            <a:spAutoFit/>
          </a:bodyPr>
          <a:lstStyle/>
          <a:p>
            <a:pPr marL="0" marR="0" lvl="0" indent="0" algn="l" defTabSz="857250" rtl="0" eaLnBrk="1" fontAlgn="auto" latinLnBrk="0" hangingPunct="1">
              <a:lnSpc>
                <a:spcPts val="1575"/>
              </a:lnSpc>
              <a:spcBef>
                <a:spcPts val="0"/>
              </a:spcBef>
              <a:spcAft>
                <a:spcPts val="0"/>
              </a:spcAft>
              <a:buClrTx/>
              <a:buSzTx/>
              <a:buFontTx/>
              <a:buNone/>
              <a:tabLst/>
              <a:defRPr/>
            </a:pPr>
            <a:r>
              <a:rPr kumimoji="0" lang="en-US" sz="1800" b="0" i="0" u="none" strike="noStrike" kern="1200" cap="none" spc="0" normalizeH="0" baseline="0" noProof="0">
                <a:ln>
                  <a:noFill/>
                </a:ln>
                <a:solidFill>
                  <a:srgbClr val="20212A"/>
                </a:solidFill>
                <a:effectLst/>
                <a:uLnTx/>
                <a:uFillTx/>
                <a:latin typeface="Calibri"/>
                <a:ea typeface="Calibri"/>
                <a:cs typeface="Calibri"/>
              </a:rPr>
              <a:t>Our Consultants have the following active certifications:</a:t>
            </a:r>
          </a:p>
        </p:txBody>
      </p:sp>
      <p:grpSp>
        <p:nvGrpSpPr>
          <p:cNvPr id="7" name="Group 5">
            <a:extLst>
              <a:ext uri="{FF2B5EF4-FFF2-40B4-BE49-F238E27FC236}">
                <a16:creationId xmlns:a16="http://schemas.microsoft.com/office/drawing/2014/main" id="{0D471FEA-8E5C-47D3-527D-1EBD77A71630}"/>
              </a:ext>
            </a:extLst>
          </p:cNvPr>
          <p:cNvGrpSpPr/>
          <p:nvPr/>
        </p:nvGrpSpPr>
        <p:grpSpPr>
          <a:xfrm>
            <a:off x="3932053" y="749155"/>
            <a:ext cx="7344049" cy="1037305"/>
            <a:chOff x="0" y="85725"/>
            <a:chExt cx="6432047" cy="1475278"/>
          </a:xfrm>
        </p:grpSpPr>
        <p:sp>
          <p:nvSpPr>
            <p:cNvPr id="9" name="TextBox 6">
              <a:extLst>
                <a:ext uri="{FF2B5EF4-FFF2-40B4-BE49-F238E27FC236}">
                  <a16:creationId xmlns:a16="http://schemas.microsoft.com/office/drawing/2014/main" id="{4810DB82-4723-AD07-2ED0-BB8017DA18AE}"/>
                </a:ext>
              </a:extLst>
            </p:cNvPr>
            <p:cNvSpPr txBox="1"/>
            <p:nvPr/>
          </p:nvSpPr>
          <p:spPr>
            <a:xfrm>
              <a:off x="0" y="85725"/>
              <a:ext cx="6432047" cy="788912"/>
            </a:xfrm>
            <a:prstGeom prst="rect">
              <a:avLst/>
            </a:prstGeom>
          </p:spPr>
          <p:txBody>
            <a:bodyPr lIns="0" tIns="0" rIns="0" bIns="0" rtlCol="0" anchor="t">
              <a:spAutoFit/>
            </a:bodyPr>
            <a:lstStyle/>
            <a:p>
              <a:pPr marL="0" marR="0" lvl="0" indent="0" algn="l" defTabSz="857250" rtl="0" eaLnBrk="1" fontAlgn="auto" latinLnBrk="0" hangingPunct="1">
                <a:lnSpc>
                  <a:spcPts val="4500"/>
                </a:lnSpc>
                <a:spcBef>
                  <a:spcPts val="0"/>
                </a:spcBef>
                <a:spcAft>
                  <a:spcPts val="0"/>
                </a:spcAft>
                <a:buClrTx/>
                <a:buSzTx/>
                <a:buFontTx/>
                <a:buNone/>
                <a:tabLst/>
                <a:defRPr/>
              </a:pPr>
              <a:r>
                <a:rPr kumimoji="0" lang="en-US" sz="36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rPr>
                <a:t>QUALIFICATIONS &amp; CERTIFICATIONS</a:t>
              </a:r>
              <a:endParaRPr kumimoji="0" lang="en-US" sz="4800" b="1" i="0" u="none" strike="noStrike" kern="1200" cap="none" spc="-45" normalizeH="0" baseline="0" noProof="0">
                <a:ln>
                  <a:noFill/>
                </a:ln>
                <a:solidFill>
                  <a:srgbClr val="20212A"/>
                </a:solidFill>
                <a:effectLst/>
                <a:uLnTx/>
                <a:uFillTx/>
                <a:latin typeface="Calibri" panose="020F0502020204030204" pitchFamily="34" charset="0"/>
                <a:ea typeface="+mn-ea"/>
                <a:cs typeface="Calibri" panose="020F0502020204030204" pitchFamily="34" charset="0"/>
              </a:endParaRPr>
            </a:p>
          </p:txBody>
        </p:sp>
        <p:sp>
          <p:nvSpPr>
            <p:cNvPr id="10" name="AutoShape 8">
              <a:extLst>
                <a:ext uri="{FF2B5EF4-FFF2-40B4-BE49-F238E27FC236}">
                  <a16:creationId xmlns:a16="http://schemas.microsoft.com/office/drawing/2014/main" id="{D5932C95-11AD-9138-86CB-DD465CFEAE98}"/>
                </a:ext>
              </a:extLst>
            </p:cNvPr>
            <p:cNvSpPr/>
            <p:nvPr/>
          </p:nvSpPr>
          <p:spPr>
            <a:xfrm>
              <a:off x="0" y="1411990"/>
              <a:ext cx="677333" cy="149013"/>
            </a:xfrm>
            <a:prstGeom prst="rect">
              <a:avLst/>
            </a:prstGeom>
            <a:solidFill>
              <a:srgbClr val="CCB76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9" name="Picture 18">
            <a:extLst>
              <a:ext uri="{FF2B5EF4-FFF2-40B4-BE49-F238E27FC236}">
                <a16:creationId xmlns:a16="http://schemas.microsoft.com/office/drawing/2014/main" id="{4A554100-EBEE-436C-9D34-808F11723B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18273" y="1901704"/>
            <a:ext cx="1151572" cy="525661"/>
          </a:xfrm>
          <a:prstGeom prst="rect">
            <a:avLst/>
          </a:prstGeom>
        </p:spPr>
      </p:pic>
      <p:pic>
        <p:nvPicPr>
          <p:cNvPr id="21" name="Picture 20">
            <a:extLst>
              <a:ext uri="{FF2B5EF4-FFF2-40B4-BE49-F238E27FC236}">
                <a16:creationId xmlns:a16="http://schemas.microsoft.com/office/drawing/2014/main" id="{93EA3639-E1DB-4AF8-9705-FABAFB357E9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95803" y="1855152"/>
            <a:ext cx="1200866" cy="592426"/>
          </a:xfrm>
          <a:prstGeom prst="rect">
            <a:avLst/>
          </a:prstGeom>
        </p:spPr>
      </p:pic>
      <p:pic>
        <p:nvPicPr>
          <p:cNvPr id="30" name="Picture 29">
            <a:extLst>
              <a:ext uri="{FF2B5EF4-FFF2-40B4-BE49-F238E27FC236}">
                <a16:creationId xmlns:a16="http://schemas.microsoft.com/office/drawing/2014/main" id="{16875D8F-C8A1-425F-866C-7122D00D45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22668" y="5485068"/>
            <a:ext cx="883911" cy="534030"/>
          </a:xfrm>
          <a:prstGeom prst="rect">
            <a:avLst/>
          </a:prstGeom>
        </p:spPr>
      </p:pic>
      <p:pic>
        <p:nvPicPr>
          <p:cNvPr id="34" name="Picture 33">
            <a:extLst>
              <a:ext uri="{FF2B5EF4-FFF2-40B4-BE49-F238E27FC236}">
                <a16:creationId xmlns:a16="http://schemas.microsoft.com/office/drawing/2014/main" id="{C7809A35-344E-4CD4-9000-AE6864E66B3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62202" y="5445236"/>
            <a:ext cx="623864" cy="485294"/>
          </a:xfrm>
          <a:prstGeom prst="rect">
            <a:avLst/>
          </a:prstGeom>
        </p:spPr>
      </p:pic>
      <p:pic>
        <p:nvPicPr>
          <p:cNvPr id="35" name="Picture 34">
            <a:extLst>
              <a:ext uri="{FF2B5EF4-FFF2-40B4-BE49-F238E27FC236}">
                <a16:creationId xmlns:a16="http://schemas.microsoft.com/office/drawing/2014/main" id="{7327ED81-2713-4191-B215-C7AA39F8F722}"/>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85209" y="5475379"/>
            <a:ext cx="1109621" cy="554812"/>
          </a:xfrm>
          <a:prstGeom prst="rect">
            <a:avLst/>
          </a:prstGeom>
        </p:spPr>
      </p:pic>
      <p:pic>
        <p:nvPicPr>
          <p:cNvPr id="36" name="Picture 35">
            <a:extLst>
              <a:ext uri="{FF2B5EF4-FFF2-40B4-BE49-F238E27FC236}">
                <a16:creationId xmlns:a16="http://schemas.microsoft.com/office/drawing/2014/main" id="{8E99FE30-7164-4C55-810D-0D7CD58F652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r="7077"/>
          <a:stretch/>
        </p:blipFill>
        <p:spPr>
          <a:xfrm>
            <a:off x="8265176" y="1850212"/>
            <a:ext cx="1184590" cy="578069"/>
          </a:xfrm>
          <a:prstGeom prst="rect">
            <a:avLst/>
          </a:prstGeom>
        </p:spPr>
      </p:pic>
      <p:pic>
        <p:nvPicPr>
          <p:cNvPr id="23" name="Picture 22">
            <a:extLst>
              <a:ext uri="{FF2B5EF4-FFF2-40B4-BE49-F238E27FC236}">
                <a16:creationId xmlns:a16="http://schemas.microsoft.com/office/drawing/2014/main" id="{8DFF8A3A-678A-4A0C-A56E-E13864BF8CB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44491" y="3634742"/>
            <a:ext cx="1027298" cy="1027298"/>
          </a:xfrm>
          <a:prstGeom prst="rect">
            <a:avLst/>
          </a:prstGeom>
        </p:spPr>
      </p:pic>
      <p:pic>
        <p:nvPicPr>
          <p:cNvPr id="27" name="Picture 26">
            <a:extLst>
              <a:ext uri="{FF2B5EF4-FFF2-40B4-BE49-F238E27FC236}">
                <a16:creationId xmlns:a16="http://schemas.microsoft.com/office/drawing/2014/main" id="{3CD62A68-FB78-41C7-B116-8D75976397B8}"/>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93732" y="4358733"/>
            <a:ext cx="1252982" cy="1252982"/>
          </a:xfrm>
          <a:prstGeom prst="rect">
            <a:avLst/>
          </a:prstGeom>
        </p:spPr>
      </p:pic>
      <p:pic>
        <p:nvPicPr>
          <p:cNvPr id="38" name="Picture 37">
            <a:extLst>
              <a:ext uri="{FF2B5EF4-FFF2-40B4-BE49-F238E27FC236}">
                <a16:creationId xmlns:a16="http://schemas.microsoft.com/office/drawing/2014/main" id="{66D2C8E1-67B4-43EB-AD16-0884C9A1BD6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987524" y="4350441"/>
            <a:ext cx="1019202" cy="1019202"/>
          </a:xfrm>
          <a:prstGeom prst="rect">
            <a:avLst/>
          </a:prstGeom>
        </p:spPr>
      </p:pic>
      <p:pic>
        <p:nvPicPr>
          <p:cNvPr id="40" name="Picture 39">
            <a:extLst>
              <a:ext uri="{FF2B5EF4-FFF2-40B4-BE49-F238E27FC236}">
                <a16:creationId xmlns:a16="http://schemas.microsoft.com/office/drawing/2014/main" id="{5982F8B3-9B39-47D5-9922-2C387960F5C3}"/>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10622" y="2464911"/>
            <a:ext cx="1019202" cy="1019202"/>
          </a:xfrm>
          <a:prstGeom prst="rect">
            <a:avLst/>
          </a:prstGeom>
        </p:spPr>
      </p:pic>
      <p:pic>
        <p:nvPicPr>
          <p:cNvPr id="22" name="Picture 4" descr="GDPR – Certified Data Protection Officer | SKLabs">
            <a:extLst>
              <a:ext uri="{FF2B5EF4-FFF2-40B4-BE49-F238E27FC236}">
                <a16:creationId xmlns:a16="http://schemas.microsoft.com/office/drawing/2014/main" id="{A85F7110-9838-A3E2-D76F-C17F77C2FD6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20569" y="5561440"/>
            <a:ext cx="1915291" cy="427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ECB| Certified ISO 27001 Lead Implementer | SKLabs">
            <a:extLst>
              <a:ext uri="{FF2B5EF4-FFF2-40B4-BE49-F238E27FC236}">
                <a16:creationId xmlns:a16="http://schemas.microsoft.com/office/drawing/2014/main" id="{4E15EBCD-C198-1DF8-E76D-B197CECE544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200849" y="5519785"/>
            <a:ext cx="1739225" cy="392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ertified Information Privacy Technologist (CIPT) - Intellectual Point">
            <a:extLst>
              <a:ext uri="{FF2B5EF4-FFF2-40B4-BE49-F238E27FC236}">
                <a16:creationId xmlns:a16="http://schemas.microsoft.com/office/drawing/2014/main" id="{DFCCD71C-5ABF-2992-FB1B-22634855FA2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15368" y="2752227"/>
            <a:ext cx="988414" cy="9884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CDPSE – Carmelo Walsh">
            <a:extLst>
              <a:ext uri="{FF2B5EF4-FFF2-40B4-BE49-F238E27FC236}">
                <a16:creationId xmlns:a16="http://schemas.microsoft.com/office/drawing/2014/main" id="{E400D769-74CC-2D68-4E2F-4B1A7C7F5C9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343" y="3472333"/>
            <a:ext cx="1145705" cy="110517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CIPM Online Training Certification Course | Pass Your Cert">
            <a:extLst>
              <a:ext uri="{FF2B5EF4-FFF2-40B4-BE49-F238E27FC236}">
                <a16:creationId xmlns:a16="http://schemas.microsoft.com/office/drawing/2014/main" id="{3337D9C4-8638-B864-49F5-240A1090426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599082" y="3561842"/>
            <a:ext cx="993043" cy="997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753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pic>
        <p:nvPicPr>
          <p:cNvPr id="6" name="Picture Placeholder 5" descr="A picture containing shape&#10;&#10;Description automatically generated">
            <a:extLst>
              <a:ext uri="{FF2B5EF4-FFF2-40B4-BE49-F238E27FC236}">
                <a16:creationId xmlns:a16="http://schemas.microsoft.com/office/drawing/2014/main" id="{A5B9E398-D58C-4BAA-16D2-EDDF3A8C69C2}"/>
              </a:ext>
            </a:extLst>
          </p:cNvPr>
          <p:cNvPicPr>
            <a:picLocks noGrp="1" noChangeAspect="1"/>
          </p:cNvPicPr>
          <p:nvPr>
            <p:ph type="pic" sz="quarter" idx="10"/>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1500"/>
                    </a14:imgEffect>
                  </a14:imgLayer>
                </a14:imgProps>
              </a:ext>
              <a:ext uri="{28A0092B-C50C-407E-A947-70E740481C1C}">
                <a14:useLocalDpi xmlns:a14="http://schemas.microsoft.com/office/drawing/2010/main" val="0"/>
              </a:ext>
            </a:extLst>
          </a:blip>
          <a:srcRect l="376" r="376"/>
          <a:stretch>
            <a:fillRect/>
          </a:stretch>
        </p:blipFill>
        <p:spPr/>
      </p:pic>
      <p:pic>
        <p:nvPicPr>
          <p:cNvPr id="8" name="Picture Placeholder 7" descr="A picture containing shape&#10;&#10;Description automatically generated">
            <a:extLst>
              <a:ext uri="{FF2B5EF4-FFF2-40B4-BE49-F238E27FC236}">
                <a16:creationId xmlns:a16="http://schemas.microsoft.com/office/drawing/2014/main" id="{3B7DDADF-85A6-CB15-25D0-0B1AF5CFAD11}"/>
              </a:ext>
            </a:extLst>
          </p:cNvPr>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a:stretch>
            <a:fillRect/>
          </a:stretch>
        </p:blipFill>
        <p:spPr/>
      </p:pic>
      <p:sp>
        <p:nvSpPr>
          <p:cNvPr id="4" name="Text Placeholder 3">
            <a:extLst>
              <a:ext uri="{FF2B5EF4-FFF2-40B4-BE49-F238E27FC236}">
                <a16:creationId xmlns:a16="http://schemas.microsoft.com/office/drawing/2014/main" id="{739B1C99-7C32-DDBC-9B83-F1DCBC0A9EF3}"/>
              </a:ext>
            </a:extLst>
          </p:cNvPr>
          <p:cNvSpPr>
            <a:spLocks noGrp="1"/>
          </p:cNvSpPr>
          <p:nvPr>
            <p:ph type="body" sz="quarter" idx="12"/>
          </p:nvPr>
        </p:nvSpPr>
        <p:spPr/>
        <p:txBody>
          <a:bodyPr/>
          <a:lstStyle/>
          <a:p>
            <a:r>
              <a:rPr lang="en-US"/>
              <a:t>FINANCIALS</a:t>
            </a:r>
            <a:endParaRPr lang="en-GB"/>
          </a:p>
        </p:txBody>
      </p:sp>
    </p:spTree>
    <p:extLst>
      <p:ext uri="{BB962C8B-B14F-4D97-AF65-F5344CB8AC3E}">
        <p14:creationId xmlns:p14="http://schemas.microsoft.com/office/powerpoint/2010/main" val="2664772615"/>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81717"/>
        </a:solidFill>
        <a:effectLst/>
      </p:bgPr>
    </p:bg>
    <p:spTree>
      <p:nvGrpSpPr>
        <p:cNvPr id="1" name=""/>
        <p:cNvGrpSpPr/>
        <p:nvPr/>
      </p:nvGrpSpPr>
      <p:grpSpPr>
        <a:xfrm>
          <a:off x="0" y="0"/>
          <a:ext cx="0" cy="0"/>
          <a:chOff x="0" y="0"/>
          <a:chExt cx="0" cy="0"/>
        </a:xfrm>
      </p:grpSpPr>
      <p:sp>
        <p:nvSpPr>
          <p:cNvPr id="2" name="AutoShape 2"/>
          <p:cNvSpPr/>
          <p:nvPr/>
        </p:nvSpPr>
        <p:spPr>
          <a:xfrm>
            <a:off x="0" y="-55824"/>
            <a:ext cx="2952750" cy="6328287"/>
          </a:xfrm>
          <a:prstGeom prst="rect">
            <a:avLst/>
          </a:prstGeom>
          <a:solidFill>
            <a:srgbClr val="EDE6E2"/>
          </a:solidFill>
        </p:spPr>
        <p:txBody>
          <a:bodyPr/>
          <a:lstStyle/>
          <a:p>
            <a:endParaRPr lang="en-US"/>
          </a:p>
        </p:txBody>
      </p:sp>
      <p:pic>
        <p:nvPicPr>
          <p:cNvPr id="4"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513899" y="360864"/>
            <a:ext cx="2847903" cy="5916502"/>
          </a:xfrm>
          <a:prstGeom prst="rect">
            <a:avLst/>
          </a:prstGeom>
        </p:spPr>
      </p:pic>
      <p:sp>
        <p:nvSpPr>
          <p:cNvPr id="5" name="TextBox 5"/>
          <p:cNvSpPr txBox="1"/>
          <p:nvPr/>
        </p:nvSpPr>
        <p:spPr>
          <a:xfrm>
            <a:off x="4101648" y="194137"/>
            <a:ext cx="4522534" cy="443198"/>
          </a:xfrm>
          <a:prstGeom prst="rect">
            <a:avLst/>
          </a:prstGeom>
        </p:spPr>
        <p:txBody>
          <a:bodyPr lIns="0" tIns="0" rIns="0" bIns="0" rtlCol="0" anchor="t">
            <a:spAutoFit/>
          </a:bodyPr>
          <a:lstStyle/>
          <a:p>
            <a:pPr marL="0" marR="0" lvl="0" indent="0" algn="l" defTabSz="914400" rtl="0" eaLnBrk="1" fontAlgn="auto" latinLnBrk="0" hangingPunct="1">
              <a:lnSpc>
                <a:spcPts val="3150"/>
              </a:lnSpc>
              <a:spcBef>
                <a:spcPts val="0"/>
              </a:spcBef>
              <a:spcAft>
                <a:spcPts val="0"/>
              </a:spcAft>
              <a:buClrTx/>
              <a:buSzTx/>
              <a:buFontTx/>
              <a:buNone/>
              <a:tabLst/>
              <a:defRPr/>
            </a:pPr>
            <a:r>
              <a:rPr kumimoji="0" lang="en-US" sz="4000" b="1" i="0" u="none" strike="noStrike" kern="1200" cap="none" spc="158"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FINANCIALS</a:t>
            </a:r>
          </a:p>
        </p:txBody>
      </p:sp>
      <p:sp>
        <p:nvSpPr>
          <p:cNvPr id="6" name="TextBox 6"/>
          <p:cNvSpPr txBox="1"/>
          <p:nvPr/>
        </p:nvSpPr>
        <p:spPr>
          <a:xfrm>
            <a:off x="5646092" y="1729131"/>
            <a:ext cx="4524575" cy="256480"/>
          </a:xfrm>
          <a:prstGeom prst="rect">
            <a:avLst/>
          </a:prstGeom>
        </p:spPr>
        <p:txBody>
          <a:bodyPr lIns="0" tIns="0" rIns="0" bIns="0" rtlCol="0" anchor="t">
            <a:spAutoFit/>
          </a:bodyPr>
          <a:lstStyle/>
          <a:p>
            <a:pPr marL="0" marR="0" lvl="0" indent="0" algn="l" defTabSz="914400" rtl="0" eaLnBrk="1" fontAlgn="auto" latinLnBrk="0" hangingPunct="1">
              <a:lnSpc>
                <a:spcPts val="2025"/>
              </a:lnSpc>
              <a:spcBef>
                <a:spcPts val="0"/>
              </a:spcBef>
              <a:spcAft>
                <a:spcPts val="0"/>
              </a:spcAft>
              <a:buClrTx/>
              <a:buSzTx/>
              <a:buFontTx/>
              <a:buNone/>
              <a:tabLst/>
              <a:defRPr/>
            </a:pPr>
            <a:endParaRPr kumimoji="0" sz="168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AutoShape 7"/>
          <p:cNvSpPr/>
          <p:nvPr/>
        </p:nvSpPr>
        <p:spPr>
          <a:xfrm>
            <a:off x="4101648" y="985620"/>
            <a:ext cx="476250" cy="104775"/>
          </a:xfrm>
          <a:prstGeom prst="rect">
            <a:avLst/>
          </a:prstGeom>
          <a:solidFill>
            <a:srgbClr val="CCB76A"/>
          </a:solidFill>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486346674"/>
              </p:ext>
            </p:extLst>
          </p:nvPr>
        </p:nvGraphicFramePr>
        <p:xfrm>
          <a:off x="3875701" y="637335"/>
          <a:ext cx="7546475" cy="2996574"/>
        </p:xfrm>
        <a:graphic>
          <a:graphicData uri="http://schemas.openxmlformats.org/drawingml/2006/table">
            <a:tbl>
              <a:tblPr firstRow="1" bandRow="1">
                <a:tableStyleId>{93296810-A885-4BE3-A3E7-6D5BEEA58F35}</a:tableStyleId>
              </a:tblPr>
              <a:tblGrid>
                <a:gridCol w="804958">
                  <a:extLst>
                    <a:ext uri="{9D8B030D-6E8A-4147-A177-3AD203B41FA5}">
                      <a16:colId xmlns:a16="http://schemas.microsoft.com/office/drawing/2014/main" val="20000"/>
                    </a:ext>
                  </a:extLst>
                </a:gridCol>
                <a:gridCol w="4226025">
                  <a:extLst>
                    <a:ext uri="{9D8B030D-6E8A-4147-A177-3AD203B41FA5}">
                      <a16:colId xmlns:a16="http://schemas.microsoft.com/office/drawing/2014/main" val="20001"/>
                    </a:ext>
                  </a:extLst>
                </a:gridCol>
                <a:gridCol w="2515492">
                  <a:extLst>
                    <a:ext uri="{9D8B030D-6E8A-4147-A177-3AD203B41FA5}">
                      <a16:colId xmlns:a16="http://schemas.microsoft.com/office/drawing/2014/main" val="20002"/>
                    </a:ext>
                  </a:extLst>
                </a:gridCol>
              </a:tblGrid>
              <a:tr h="350217">
                <a:tc>
                  <a:txBody>
                    <a:bodyPr/>
                    <a:lstStyle/>
                    <a:p>
                      <a:pPr algn="ctr"/>
                      <a:r>
                        <a:rPr lang="en-US" sz="1800"/>
                        <a:t>Sr. No.</a:t>
                      </a:r>
                    </a:p>
                  </a:txBody>
                  <a:tcPr marL="85725" marR="85725" marT="42863" marB="42863" anchor="ctr">
                    <a:solidFill>
                      <a:srgbClr val="000000"/>
                    </a:solidFill>
                  </a:tcPr>
                </a:tc>
                <a:tc>
                  <a:txBody>
                    <a:bodyPr/>
                    <a:lstStyle/>
                    <a:p>
                      <a:pPr algn="ctr"/>
                      <a:r>
                        <a:rPr lang="en-US" sz="1800"/>
                        <a:t>Deliverables</a:t>
                      </a:r>
                    </a:p>
                  </a:txBody>
                  <a:tcPr marL="85725" marR="85725" marT="42863" marB="42863" anchor="ctr">
                    <a:solidFill>
                      <a:srgbClr val="000000"/>
                    </a:solidFill>
                  </a:tcPr>
                </a:tc>
                <a:tc>
                  <a:txBody>
                    <a:bodyPr/>
                    <a:lstStyle/>
                    <a:p>
                      <a:pPr algn="ctr"/>
                      <a:r>
                        <a:rPr lang="en-US" sz="1800"/>
                        <a:t>Amount SAR</a:t>
                      </a:r>
                    </a:p>
                  </a:txBody>
                  <a:tcPr marL="85725" marR="85725" marT="42863" marB="42863" anchor="ctr">
                    <a:solidFill>
                      <a:srgbClr val="000000"/>
                    </a:solidFill>
                  </a:tcPr>
                </a:tc>
                <a:extLst>
                  <a:ext uri="{0D108BD9-81ED-4DB2-BD59-A6C34878D82A}">
                    <a16:rowId xmlns:a16="http://schemas.microsoft.com/office/drawing/2014/main" val="10000"/>
                  </a:ext>
                </a:extLst>
              </a:tr>
              <a:tr h="290277">
                <a:tc>
                  <a:txBody>
                    <a:bodyPr/>
                    <a:lstStyle/>
                    <a:p>
                      <a:pPr marL="0" algn="ctr" defTabSz="914400" rtl="0" eaLnBrk="1" latinLnBrk="0" hangingPunct="1"/>
                      <a:r>
                        <a:rPr lang="en-US" sz="1600" b="1" kern="1200">
                          <a:solidFill>
                            <a:schemeClr val="dk1"/>
                          </a:solidFill>
                          <a:latin typeface="+mn-lt"/>
                          <a:ea typeface="+mn-ea"/>
                          <a:cs typeface="+mn-cs"/>
                        </a:rPr>
                        <a:t>1</a:t>
                      </a:r>
                    </a:p>
                  </a:txBody>
                  <a:tcPr marL="85725" marR="85725" marT="42863" marB="42863" anchor="ctr">
                    <a:solidFill>
                      <a:srgbClr val="CCB76A"/>
                    </a:solidFill>
                  </a:tcPr>
                </a:tc>
                <a:tc>
                  <a:txBody>
                    <a:bodyPr/>
                    <a:lstStyle/>
                    <a:p>
                      <a:r>
                        <a:t>Dummy Deliverable 1</a:t>
                      </a:r>
                    </a:p>
                  </a:txBody>
                  <a:tcPr marL="85725" marR="85725" marT="42863" marB="42863" anchor="ctr">
                    <a:solidFill>
                      <a:srgbClr val="CCB76A"/>
                    </a:solidFill>
                  </a:tcPr>
                </a:tc>
                <a:tc>
                  <a:txBody>
                    <a:bodyPr/>
                    <a:lstStyle/>
                    <a:p>
                      <a:r>
                        <a:t>$100</a:t>
                      </a:r>
                    </a:p>
                  </a:txBody>
                  <a:tcPr marL="85725" marR="85725" marT="42863" marB="42863" anchor="ctr">
                    <a:solidFill>
                      <a:srgbClr val="CCB76A"/>
                    </a:solidFill>
                  </a:tcPr>
                </a:tc>
                <a:extLst>
                  <a:ext uri="{0D108BD9-81ED-4DB2-BD59-A6C34878D82A}">
                    <a16:rowId xmlns:a16="http://schemas.microsoft.com/office/drawing/2014/main" val="10002"/>
                  </a:ext>
                </a:extLst>
              </a:tr>
              <a:tr h="290277">
                <a:tc>
                  <a:txBody>
                    <a:bodyPr/>
                    <a:lstStyle/>
                    <a:p>
                      <a:pPr marL="0" algn="ctr" defTabSz="914400" rtl="0" eaLnBrk="1" latinLnBrk="0" hangingPunct="1"/>
                      <a:r>
                        <a:rPr lang="en-US" sz="1600" b="1" kern="1200">
                          <a:solidFill>
                            <a:schemeClr val="dk1"/>
                          </a:solidFill>
                          <a:latin typeface="+mn-lt"/>
                          <a:ea typeface="+mn-ea"/>
                          <a:cs typeface="+mn-cs"/>
                        </a:rPr>
                        <a:t>2</a:t>
                      </a:r>
                    </a:p>
                  </a:txBody>
                  <a:tcPr marL="85725" marR="85725" marT="42863" marB="42863" anchor="ctr">
                    <a:solidFill>
                      <a:srgbClr val="CCB76A"/>
                    </a:solidFill>
                  </a:tcPr>
                </a:tc>
                <a:tc>
                  <a:txBody>
                    <a:bodyPr/>
                    <a:lstStyle/>
                    <a:p>
                      <a:r>
                        <a:t>Dummy Deliverable 2</a:t>
                      </a:r>
                    </a:p>
                  </a:txBody>
                  <a:tcPr marL="85725" marR="85725" marT="42863" marB="42863" anchor="ctr">
                    <a:solidFill>
                      <a:srgbClr val="CCB76A"/>
                    </a:solidFill>
                  </a:tcPr>
                </a:tc>
                <a:tc>
                  <a:txBody>
                    <a:bodyPr/>
                    <a:lstStyle/>
                    <a:p>
                      <a:r>
                        <a:t>$200</a:t>
                      </a:r>
                    </a:p>
                  </a:txBody>
                  <a:tcPr marL="85725" marR="85725" marT="42863" marB="42863" anchor="ctr">
                    <a:solidFill>
                      <a:srgbClr val="CCB76A"/>
                    </a:solidFill>
                  </a:tcPr>
                </a:tc>
                <a:extLst>
                  <a:ext uri="{0D108BD9-81ED-4DB2-BD59-A6C34878D82A}">
                    <a16:rowId xmlns:a16="http://schemas.microsoft.com/office/drawing/2014/main" val="1750746448"/>
                  </a:ext>
                </a:extLst>
              </a:tr>
              <a:tr h="290277">
                <a:tc>
                  <a:txBody>
                    <a:bodyPr/>
                    <a:lstStyle/>
                    <a:p>
                      <a:pPr marL="0" algn="ctr" defTabSz="914400" rtl="0" eaLnBrk="1" latinLnBrk="0" hangingPunct="1"/>
                      <a:r>
                        <a:rPr lang="en-US" sz="1600" b="1" kern="1200">
                          <a:solidFill>
                            <a:schemeClr val="dk1"/>
                          </a:solidFill>
                          <a:latin typeface="+mn-lt"/>
                          <a:ea typeface="+mn-ea"/>
                          <a:cs typeface="+mn-cs"/>
                        </a:rPr>
                        <a:t>3</a:t>
                      </a:r>
                    </a:p>
                  </a:txBody>
                  <a:tcPr marL="85725" marR="85725" marT="42863" marB="42863" anchor="ctr">
                    <a:solidFill>
                      <a:srgbClr val="CCB76A"/>
                    </a:solidFill>
                  </a:tcPr>
                </a:tc>
                <a:tc>
                  <a:txBody>
                    <a:bodyPr/>
                    <a:lstStyle/>
                    <a:p>
                      <a:r>
                        <a:t>Dummy Deliverable 3</a:t>
                      </a:r>
                    </a:p>
                  </a:txBody>
                  <a:tcPr marL="85725" marR="85725" marT="42863" marB="42863" anchor="ctr">
                    <a:solidFill>
                      <a:srgbClr val="CCB76A"/>
                    </a:solidFill>
                  </a:tcPr>
                </a:tc>
                <a:tc>
                  <a:txBody>
                    <a:bodyPr/>
                    <a:lstStyle/>
                    <a:p>
                      <a:r>
                        <a:t>$300</a:t>
                      </a:r>
                    </a:p>
                  </a:txBody>
                  <a:tcPr marL="85725" marR="85725" marT="42863" marB="42863" anchor="ctr">
                    <a:solidFill>
                      <a:srgbClr val="CCB76A"/>
                    </a:solidFill>
                  </a:tcPr>
                </a:tc>
                <a:extLst>
                  <a:ext uri="{0D108BD9-81ED-4DB2-BD59-A6C34878D82A}">
                    <a16:rowId xmlns:a16="http://schemas.microsoft.com/office/drawing/2014/main" val="1412901797"/>
                  </a:ext>
                </a:extLst>
              </a:tr>
              <a:tr h="290277">
                <a:tc gridSpan="2">
                  <a:txBody>
                    <a:bodyPr/>
                    <a:lstStyle/>
                    <a:p>
                      <a:pPr marL="0" algn="r" defTabSz="914400" rtl="0" eaLnBrk="1" latinLnBrk="0" hangingPunct="1"/>
                      <a:r>
                        <a:rPr lang="en-US" sz="1600" b="1" kern="1200" dirty="0">
                          <a:solidFill>
                            <a:schemeClr val="bg1"/>
                          </a:solidFill>
                          <a:latin typeface="+mn-lt"/>
                          <a:ea typeface="+mn-ea"/>
                          <a:cs typeface="+mn-cs"/>
                        </a:rPr>
                        <a:t>Total</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solidFill>
                      <a:schemeClr val="accent6"/>
                    </a:solidFill>
                  </a:tcPr>
                </a:tc>
                <a:tc>
                  <a:txBody>
                    <a:bodyPr/>
                    <a:lstStyle/>
                    <a:p>
                      <a:r>
                        <a:rPr>
                          <a:solidFill>
                            <a:srgbClr val="FFFFFF"/>
                          </a:solidFill>
                        </a:rPr>
                        <a:t>$1150.00</a:t>
                      </a:r>
                    </a:p>
                  </a:txBody>
                  <a:tcPr marL="85725" marR="85725" marT="42863" marB="42863">
                    <a:noFill/>
                  </a:tcPr>
                </a:tc>
                <a:extLst>
                  <a:ext uri="{0D108BD9-81ED-4DB2-BD59-A6C34878D82A}">
                    <a16:rowId xmlns:a16="http://schemas.microsoft.com/office/drawing/2014/main" val="10003"/>
                  </a:ext>
                </a:extLst>
              </a:tr>
              <a:tr h="290277">
                <a:tc gridSpan="2">
                  <a:txBody>
                    <a:bodyPr/>
                    <a:lstStyle/>
                    <a:p>
                      <a:pPr marL="0" algn="r" defTabSz="914400" rtl="0" eaLnBrk="1" latinLnBrk="0" hangingPunct="1"/>
                      <a:endParaRPr lang="en-US" sz="1600" b="1" kern="1200" dirty="0">
                        <a:solidFill>
                          <a:srgbClr val="FF0000"/>
                        </a:solidFill>
                        <a:latin typeface="+mn-lt"/>
                        <a:ea typeface="+mn-ea"/>
                        <a:cs typeface="+mn-cs"/>
                      </a:endParaRPr>
                    </a:p>
                  </a:txBody>
                  <a:tcPr marL="85725" marR="85725" marT="42863" marB="42863" anchor="ctr">
                    <a:noFill/>
                  </a:tcPr>
                </a:tc>
                <a:tc hMerge="1">
                  <a:txBody>
                    <a:bodyPr/>
                    <a:lstStyle/>
                    <a:p>
                      <a:endParaRPr lang="en-GB"/>
                    </a:p>
                  </a:txBody>
                  <a:tcPr/>
                </a:tc>
                <a:tc>
                  <a:txBody>
                    <a:bodyPr/>
                    <a:lstStyle/>
                    <a:p>
                      <a:pPr marL="0" algn="l" defTabSz="914400" rtl="0" eaLnBrk="1" latinLnBrk="0" hangingPunct="1"/>
                      <a:endParaRPr lang="en-US" sz="1600" b="1" kern="1200" dirty="0">
                        <a:solidFill>
                          <a:srgbClr val="FF0000"/>
                        </a:solidFill>
                        <a:latin typeface="+mn-lt"/>
                        <a:ea typeface="+mn-ea"/>
                        <a:cs typeface="+mn-cs"/>
                      </a:endParaRPr>
                    </a:p>
                  </a:txBody>
                  <a:tcPr marL="85725" marR="85725" marT="42863" marB="42863">
                    <a:noFill/>
                  </a:tcPr>
                </a:tc>
                <a:extLst>
                  <a:ext uri="{0D108BD9-81ED-4DB2-BD59-A6C34878D82A}">
                    <a16:rowId xmlns:a16="http://schemas.microsoft.com/office/drawing/2014/main" val="1555313951"/>
                  </a:ext>
                </a:extLst>
              </a:tr>
              <a:tr h="290277">
                <a:tc gridSpan="2">
                  <a:txBody>
                    <a:bodyPr/>
                    <a:lstStyle/>
                    <a:p>
                      <a:pPr marL="0" algn="r" defTabSz="914400" rtl="0" eaLnBrk="1" latinLnBrk="0" hangingPunct="1"/>
                      <a:r>
                        <a:rPr lang="en-US" sz="1600" b="1" kern="1200">
                          <a:solidFill>
                            <a:schemeClr val="bg1"/>
                          </a:solidFill>
                          <a:latin typeface="+mn-lt"/>
                          <a:ea typeface="+mn-ea"/>
                          <a:cs typeface="+mn-cs"/>
                        </a:rPr>
                        <a:t>Total without VAT</a:t>
                      </a:r>
                    </a:p>
                  </a:txBody>
                  <a:tcPr marL="85725" marR="85725" marT="42863" marB="42863" anchor="ctr">
                    <a:noFill/>
                  </a:tcPr>
                </a:tc>
                <a:tc hMerge="1">
                  <a:txBody>
                    <a:bodyPr/>
                    <a:lstStyle/>
                    <a:p>
                      <a:pPr marL="0" algn="l" defTabSz="914400" rtl="0" eaLnBrk="1" latinLnBrk="0" hangingPunct="1"/>
                      <a:endParaRPr lang="en-US" sz="1800" kern="1200">
                        <a:solidFill>
                          <a:schemeClr val="dk1"/>
                        </a:solidFill>
                        <a:latin typeface="+mn-lt"/>
                        <a:ea typeface="+mn-ea"/>
                        <a:cs typeface="+mn-cs"/>
                      </a:endParaRPr>
                    </a:p>
                  </a:txBody>
                  <a:tcPr/>
                </a:tc>
                <a:tc>
                  <a:txBody>
                    <a:bodyPr/>
                    <a:lstStyle/>
                    <a:p>
                      <a:r>
                        <a:rPr>
                          <a:solidFill>
                            <a:srgbClr val="FFFFFF"/>
                          </a:solidFill>
                        </a:rPr>
                        <a:t>$1000.00</a:t>
                      </a:r>
                    </a:p>
                  </a:txBody>
                  <a:tcPr marL="85725" marR="85725" marT="42863" marB="42863">
                    <a:noFill/>
                  </a:tcPr>
                </a:tc>
                <a:extLst>
                  <a:ext uri="{0D108BD9-81ED-4DB2-BD59-A6C34878D82A}">
                    <a16:rowId xmlns:a16="http://schemas.microsoft.com/office/drawing/2014/main" val="529514081"/>
                  </a:ext>
                </a:extLst>
              </a:tr>
            </a:tbl>
          </a:graphicData>
        </a:graphic>
      </p:graphicFrame>
      <p:pic>
        <p:nvPicPr>
          <p:cNvPr id="11" name="Picture 4">
            <a:extLst>
              <a:ext uri="{FF2B5EF4-FFF2-40B4-BE49-F238E27FC236}">
                <a16:creationId xmlns:a16="http://schemas.microsoft.com/office/drawing/2014/main" id="{045FD90E-03A6-5C27-84A4-92681F1EB3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rot="-10800000">
            <a:off x="11280150" y="5986641"/>
            <a:ext cx="477524" cy="477524"/>
          </a:xfrm>
          <a:prstGeom prst="rect">
            <a:avLst/>
          </a:prstGeom>
        </p:spPr>
      </p:pic>
      <p:sp>
        <p:nvSpPr>
          <p:cNvPr id="9" name="TextBox 8">
            <a:extLst>
              <a:ext uri="{FF2B5EF4-FFF2-40B4-BE49-F238E27FC236}">
                <a16:creationId xmlns:a16="http://schemas.microsoft.com/office/drawing/2014/main" id="{56814C69-B919-EA46-9F6D-266DB3BC0E82}"/>
              </a:ext>
            </a:extLst>
          </p:cNvPr>
          <p:cNvSpPr txBox="1"/>
          <p:nvPr/>
        </p:nvSpPr>
        <p:spPr>
          <a:xfrm>
            <a:off x="4061907" y="4311760"/>
            <a:ext cx="7174061" cy="1908215"/>
          </a:xfrm>
          <a:prstGeom prst="rect">
            <a:avLst/>
          </a:prstGeom>
          <a:noFill/>
        </p:spPr>
        <p:txBody>
          <a:bodyPr wrap="square" rtlCol="0">
            <a:spAutoFit/>
          </a:bodyPr>
          <a:lstStyle/>
          <a:p>
            <a:r>
              <a:rPr lang="en-US">
                <a:solidFill>
                  <a:schemeClr val="bg1"/>
                </a:solidFill>
              </a:rPr>
              <a:t>Payment Terms:</a:t>
            </a:r>
          </a:p>
          <a:p>
            <a:pPr marL="742950" lvl="1" indent="-285750">
              <a:buFont typeface="Arial" panose="020B0604020202020204" pitchFamily="34" charset="0"/>
              <a:buChar char="•"/>
            </a:pPr>
            <a:r>
              <a:rPr lang="en-US" sz="1800">
                <a:solidFill>
                  <a:schemeClr val="bg1"/>
                </a:solidFill>
              </a:rPr>
              <a:t>Price above does not include KSA VAT, </a:t>
            </a:r>
          </a:p>
          <a:p>
            <a:pPr marL="742950" lvl="1" indent="-285750">
              <a:buFont typeface="Arial" panose="020B0604020202020204" pitchFamily="34" charset="0"/>
              <a:buChar char="•"/>
            </a:pPr>
            <a:r>
              <a:rPr lang="en-US">
                <a:solidFill>
                  <a:schemeClr val="bg1"/>
                </a:solidFill>
              </a:rPr>
              <a:t>4</a:t>
            </a:r>
            <a:r>
              <a:rPr lang="en-US" sz="1800">
                <a:solidFill>
                  <a:schemeClr val="bg1"/>
                </a:solidFill>
              </a:rPr>
              <a:t>0% on signing on and Awarding </a:t>
            </a:r>
          </a:p>
          <a:p>
            <a:pPr marL="742950" lvl="1" indent="-285750">
              <a:buFont typeface="Arial" panose="020B0604020202020204" pitchFamily="34" charset="0"/>
              <a:buChar char="•"/>
            </a:pPr>
            <a:r>
              <a:rPr lang="en-US">
                <a:solidFill>
                  <a:schemeClr val="bg1"/>
                </a:solidFill>
              </a:rPr>
              <a:t>3</a:t>
            </a:r>
            <a:r>
              <a:rPr lang="en-US" sz="1800">
                <a:solidFill>
                  <a:schemeClr val="bg1"/>
                </a:solidFill>
              </a:rPr>
              <a:t>0% after 1 month of PO</a:t>
            </a:r>
          </a:p>
          <a:p>
            <a:pPr marL="742950" lvl="1" indent="-285750">
              <a:buFont typeface="Arial" panose="020B0604020202020204" pitchFamily="34" charset="0"/>
              <a:buChar char="•"/>
            </a:pPr>
            <a:r>
              <a:rPr lang="en-US">
                <a:solidFill>
                  <a:schemeClr val="bg1"/>
                </a:solidFill>
              </a:rPr>
              <a:t>30% with project sign off</a:t>
            </a:r>
            <a:endParaRPr lang="en-US" sz="1800">
              <a:solidFill>
                <a:schemeClr val="bg1"/>
              </a:solidFill>
            </a:endParaRPr>
          </a:p>
          <a:p>
            <a:endParaRPr lang="en-US">
              <a:solidFill>
                <a:schemeClr val="bg1"/>
              </a:solidFill>
            </a:endParaRPr>
          </a:p>
          <a:p>
            <a:endParaRPr lang="en-US" sz="1000">
              <a:solidFill>
                <a:schemeClr val="bg1"/>
              </a:solidFill>
            </a:endParaRPr>
          </a:p>
        </p:txBody>
      </p:sp>
    </p:spTree>
    <p:extLst>
      <p:ext uri="{BB962C8B-B14F-4D97-AF65-F5344CB8AC3E}">
        <p14:creationId xmlns:p14="http://schemas.microsoft.com/office/powerpoint/2010/main" val="302799523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AutoShape 2"/>
          <p:cNvSpPr/>
          <p:nvPr/>
        </p:nvSpPr>
        <p:spPr>
          <a:xfrm>
            <a:off x="6626610" y="-3786"/>
            <a:ext cx="4136640" cy="6613134"/>
          </a:xfrm>
          <a:prstGeom prst="rect">
            <a:avLst/>
          </a:prstGeom>
          <a:solidFill>
            <a:srgbClr val="20212A"/>
          </a:solidFill>
        </p:spPr>
        <p:txBody>
          <a:bodyPr/>
          <a:lstStyle/>
          <a:p>
            <a:endParaRPr lang="en-US"/>
          </a:p>
        </p:txBody>
      </p:sp>
      <p:pic>
        <p:nvPicPr>
          <p:cNvPr id="3" name="Picture 3"/>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a:xfrm>
            <a:off x="6609593" y="-7478"/>
            <a:ext cx="4173393" cy="6616825"/>
          </a:xfrm>
          <a:prstGeom prst="rect">
            <a:avLst/>
          </a:prstGeom>
        </p:spPr>
      </p:pic>
      <p:sp>
        <p:nvSpPr>
          <p:cNvPr id="22"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93D14ED2-2DAD-0FDD-9E4F-B777AC6EB660}"/>
              </a:ext>
            </a:extLst>
          </p:cNvPr>
          <p:cNvSpPr/>
          <p:nvPr/>
        </p:nvSpPr>
        <p:spPr>
          <a:xfrm>
            <a:off x="360651" y="346390"/>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4">
            <a:extLst>
              <a:ext uri="{FF2B5EF4-FFF2-40B4-BE49-F238E27FC236}">
                <a16:creationId xmlns:a16="http://schemas.microsoft.com/office/drawing/2014/main" id="{883752F2-B882-A524-598E-E74782A13097}"/>
              </a:ext>
            </a:extLst>
          </p:cNvPr>
          <p:cNvGrpSpPr/>
          <p:nvPr/>
        </p:nvGrpSpPr>
        <p:grpSpPr>
          <a:xfrm>
            <a:off x="6832916" y="532169"/>
            <a:ext cx="3412603" cy="951997"/>
            <a:chOff x="0" y="52471"/>
            <a:chExt cx="4550138" cy="1269331"/>
          </a:xfrm>
        </p:grpSpPr>
        <p:sp>
          <p:nvSpPr>
            <p:cNvPr id="8" name="TextBox 5">
              <a:extLst>
                <a:ext uri="{FF2B5EF4-FFF2-40B4-BE49-F238E27FC236}">
                  <a16:creationId xmlns:a16="http://schemas.microsoft.com/office/drawing/2014/main" id="{17794927-7752-C2F8-809C-F61381B7469A}"/>
                </a:ext>
              </a:extLst>
            </p:cNvPr>
            <p:cNvSpPr txBox="1"/>
            <p:nvPr/>
          </p:nvSpPr>
          <p:spPr>
            <a:xfrm>
              <a:off x="0" y="52471"/>
              <a:ext cx="4550138" cy="832194"/>
            </a:xfrm>
            <a:prstGeom prst="rect">
              <a:avLst/>
            </a:prstGeom>
          </p:spPr>
          <p:txBody>
            <a:bodyPr lIns="0" tIns="0" rIns="0" bIns="0" rtlCol="0" anchor="t">
              <a:spAutoFit/>
            </a:bodyPr>
            <a:lstStyle/>
            <a:p>
              <a:pPr marL="0" marR="0" lvl="0" indent="0" algn="r" defTabSz="914400" rtl="0" eaLnBrk="1" fontAlgn="auto" latinLnBrk="0" hangingPunct="1">
                <a:lnSpc>
                  <a:spcPts val="4799"/>
                </a:lnSpc>
                <a:spcBef>
                  <a:spcPts val="0"/>
                </a:spcBef>
                <a:spcAft>
                  <a:spcPts val="0"/>
                </a:spcAft>
                <a:buClrTx/>
                <a:buSzTx/>
                <a:buFontTx/>
                <a:buNone/>
                <a:tabLst/>
                <a:defRPr/>
              </a:pPr>
              <a:r>
                <a:rPr kumimoji="0" lang="en-US" sz="4000" b="1" i="0" u="none" strike="noStrike" kern="1200" cap="none" spc="-47"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CONTACT US</a:t>
              </a:r>
            </a:p>
          </p:txBody>
        </p:sp>
        <p:sp>
          <p:nvSpPr>
            <p:cNvPr id="9" name="AutoShape 6">
              <a:extLst>
                <a:ext uri="{FF2B5EF4-FFF2-40B4-BE49-F238E27FC236}">
                  <a16:creationId xmlns:a16="http://schemas.microsoft.com/office/drawing/2014/main" id="{63B5388D-1592-EF0A-23DC-FE586A8F5B35}"/>
                </a:ext>
              </a:extLst>
            </p:cNvPr>
            <p:cNvSpPr/>
            <p:nvPr/>
          </p:nvSpPr>
          <p:spPr>
            <a:xfrm>
              <a:off x="3872805" y="1172789"/>
              <a:ext cx="677333" cy="149013"/>
            </a:xfrm>
            <a:prstGeom prst="rect">
              <a:avLst/>
            </a:prstGeom>
            <a:solidFill>
              <a:srgbClr val="CCB76A"/>
            </a:solidFill>
          </p:spPr>
          <p:txBody>
            <a:bodyPr/>
            <a:lstStyle/>
            <a:p>
              <a:endParaRPr lang="en-US"/>
            </a:p>
          </p:txBody>
        </p:sp>
      </p:grpSp>
      <p:sp>
        <p:nvSpPr>
          <p:cNvPr id="4" name="TextBox 10">
            <a:extLst>
              <a:ext uri="{FF2B5EF4-FFF2-40B4-BE49-F238E27FC236}">
                <a16:creationId xmlns:a16="http://schemas.microsoft.com/office/drawing/2014/main" id="{4D9EE1E7-0EBE-C6DE-40E7-31E2CCE2D3BF}"/>
              </a:ext>
            </a:extLst>
          </p:cNvPr>
          <p:cNvSpPr txBox="1"/>
          <p:nvPr/>
        </p:nvSpPr>
        <p:spPr>
          <a:xfrm>
            <a:off x="869758" y="609282"/>
            <a:ext cx="4370473" cy="2420534"/>
          </a:xfrm>
          <a:prstGeom prst="rect">
            <a:avLst/>
          </a:prstGeom>
        </p:spPr>
        <p:txBody>
          <a:bodyPr wrap="square"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UBAI, UAE</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IYADH, KS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OHA, QATAR</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ANAMA, BAHRAIN</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MELBOURNE, AUSTRALIA</a:t>
            </a:r>
          </a:p>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0" i="0" u="none" strike="noStrike" kern="1200" cap="none" spc="158"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SLAMABAD, PAKISTAN</a:t>
            </a:r>
          </a:p>
        </p:txBody>
      </p:sp>
      <p:grpSp>
        <p:nvGrpSpPr>
          <p:cNvPr id="5" name="Group 15">
            <a:extLst>
              <a:ext uri="{FF2B5EF4-FFF2-40B4-BE49-F238E27FC236}">
                <a16:creationId xmlns:a16="http://schemas.microsoft.com/office/drawing/2014/main" id="{C2FD2F9F-6C5D-B81A-B69E-2C86A1C18242}"/>
              </a:ext>
            </a:extLst>
          </p:cNvPr>
          <p:cNvGrpSpPr/>
          <p:nvPr/>
        </p:nvGrpSpPr>
        <p:grpSpPr>
          <a:xfrm>
            <a:off x="838199" y="3319818"/>
            <a:ext cx="4449210" cy="2561171"/>
            <a:chOff x="320263" y="196239"/>
            <a:chExt cx="6327765" cy="3428501"/>
          </a:xfrm>
        </p:grpSpPr>
        <p:sp>
          <p:nvSpPr>
            <p:cNvPr id="6" name="TextBox 16">
              <a:extLst>
                <a:ext uri="{FF2B5EF4-FFF2-40B4-BE49-F238E27FC236}">
                  <a16:creationId xmlns:a16="http://schemas.microsoft.com/office/drawing/2014/main" id="{D85896F8-18E1-E6C5-96AF-FB2830D68734}"/>
                </a:ext>
              </a:extLst>
            </p:cNvPr>
            <p:cNvSpPr txBox="1"/>
            <p:nvPr/>
          </p:nvSpPr>
          <p:spPr>
            <a:xfrm>
              <a:off x="373621" y="2723763"/>
              <a:ext cx="6231752"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EMAIL ADDRESS</a:t>
              </a:r>
            </a:p>
          </p:txBody>
        </p:sp>
        <p:sp>
          <p:nvSpPr>
            <p:cNvPr id="11" name="TextBox 17">
              <a:extLst>
                <a:ext uri="{FF2B5EF4-FFF2-40B4-BE49-F238E27FC236}">
                  <a16:creationId xmlns:a16="http://schemas.microsoft.com/office/drawing/2014/main" id="{392C8B53-6460-4B2A-CE9E-FC0BA975D438}"/>
                </a:ext>
              </a:extLst>
            </p:cNvPr>
            <p:cNvSpPr txBox="1"/>
            <p:nvPr/>
          </p:nvSpPr>
          <p:spPr>
            <a:xfrm>
              <a:off x="416276" y="3212222"/>
              <a:ext cx="6231752" cy="412518"/>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fo@grc360.net</a:t>
              </a:r>
            </a:p>
          </p:txBody>
        </p:sp>
        <p:sp>
          <p:nvSpPr>
            <p:cNvPr id="12" name="TextBox 18">
              <a:extLst>
                <a:ext uri="{FF2B5EF4-FFF2-40B4-BE49-F238E27FC236}">
                  <a16:creationId xmlns:a16="http://schemas.microsoft.com/office/drawing/2014/main" id="{794B772B-029E-A898-5571-5160657CE25D}"/>
                </a:ext>
              </a:extLst>
            </p:cNvPr>
            <p:cNvSpPr txBox="1"/>
            <p:nvPr/>
          </p:nvSpPr>
          <p:spPr>
            <a:xfrm>
              <a:off x="359677" y="1256820"/>
              <a:ext cx="6231747"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HONE NUMBER</a:t>
              </a:r>
            </a:p>
          </p:txBody>
        </p:sp>
        <p:sp>
          <p:nvSpPr>
            <p:cNvPr id="13" name="TextBox 19">
              <a:extLst>
                <a:ext uri="{FF2B5EF4-FFF2-40B4-BE49-F238E27FC236}">
                  <a16:creationId xmlns:a16="http://schemas.microsoft.com/office/drawing/2014/main" id="{7C333A76-D4D3-4712-21CB-C557ADB22AA7}"/>
                </a:ext>
              </a:extLst>
            </p:cNvPr>
            <p:cNvSpPr txBox="1"/>
            <p:nvPr/>
          </p:nvSpPr>
          <p:spPr>
            <a:xfrm>
              <a:off x="373622" y="196239"/>
              <a:ext cx="6231751" cy="502644"/>
            </a:xfrm>
            <a:prstGeom prst="rect">
              <a:avLst/>
            </a:prstGeom>
          </p:spPr>
          <p:txBody>
            <a:bodyPr lIns="0" tIns="0" rIns="0" bIns="0" rtlCol="0" anchor="t">
              <a:spAutoFit/>
            </a:bodyPr>
            <a:lstStyle/>
            <a:p>
              <a:pPr marL="0" marR="0" lvl="0" indent="0" algn="l" defTabSz="857250" rtl="0" eaLnBrk="1" fontAlgn="auto" latinLnBrk="0" hangingPunct="1">
                <a:lnSpc>
                  <a:spcPts val="3150"/>
                </a:lnSpc>
                <a:spcBef>
                  <a:spcPts val="0"/>
                </a:spcBef>
                <a:spcAft>
                  <a:spcPts val="0"/>
                </a:spcAft>
                <a:buClrTx/>
                <a:buSzTx/>
                <a:buFontTx/>
                <a:buNone/>
                <a:tabLst/>
                <a:defRPr/>
              </a:pPr>
              <a:r>
                <a:rPr kumimoji="0" lang="en-US" sz="1800" b="1" i="0" u="none" strike="noStrike" kern="1200" cap="none" spc="158"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WEBSITE</a:t>
              </a:r>
            </a:p>
          </p:txBody>
        </p:sp>
        <p:sp>
          <p:nvSpPr>
            <p:cNvPr id="14" name="TextBox 20">
              <a:extLst>
                <a:ext uri="{FF2B5EF4-FFF2-40B4-BE49-F238E27FC236}">
                  <a16:creationId xmlns:a16="http://schemas.microsoft.com/office/drawing/2014/main" id="{D358551C-6959-2BE9-463B-F519FD68A60B}"/>
                </a:ext>
              </a:extLst>
            </p:cNvPr>
            <p:cNvSpPr txBox="1"/>
            <p:nvPr/>
          </p:nvSpPr>
          <p:spPr>
            <a:xfrm>
              <a:off x="320263" y="1745277"/>
              <a:ext cx="6231751" cy="832591"/>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966 503110519 (KSA)</a:t>
              </a:r>
            </a:p>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61 412738906 (Australia)</a:t>
              </a:r>
            </a:p>
          </p:txBody>
        </p:sp>
        <p:sp>
          <p:nvSpPr>
            <p:cNvPr id="23" name="TextBox 21">
              <a:extLst>
                <a:ext uri="{FF2B5EF4-FFF2-40B4-BE49-F238E27FC236}">
                  <a16:creationId xmlns:a16="http://schemas.microsoft.com/office/drawing/2014/main" id="{6DA9546D-8AA3-B99D-B4E4-120E0D976F2E}"/>
                </a:ext>
              </a:extLst>
            </p:cNvPr>
            <p:cNvSpPr txBox="1"/>
            <p:nvPr/>
          </p:nvSpPr>
          <p:spPr>
            <a:xfrm>
              <a:off x="396193" y="645932"/>
              <a:ext cx="6231751" cy="412519"/>
            </a:xfrm>
            <a:prstGeom prst="rect">
              <a:avLst/>
            </a:prstGeom>
          </p:spPr>
          <p:txBody>
            <a:bodyPr lIns="0" tIns="0" rIns="0" bIns="0" rtlCol="0" anchor="t">
              <a:spAutoFit/>
            </a:bodyPr>
            <a:lstStyle/>
            <a:p>
              <a:pPr marL="0" marR="0" lvl="0" indent="0" algn="l" defTabSz="857250" rtl="0" eaLnBrk="1" fontAlgn="auto" latinLnBrk="0" hangingPunct="1">
                <a:lnSpc>
                  <a:spcPts val="2531"/>
                </a:lnSpc>
                <a:spcBef>
                  <a:spcPts val="0"/>
                </a:spcBef>
                <a:spcAft>
                  <a:spcPts val="0"/>
                </a:spcAft>
                <a:buClrTx/>
                <a:buSzTx/>
                <a:buFontTx/>
                <a:buNone/>
                <a:tabLst/>
                <a:defRPr/>
              </a:pPr>
              <a:r>
                <a:rPr kumimoji="0" lang="en-US" sz="1800" b="0" i="0" u="none" strike="noStrike" kern="1200" cap="none" spc="17"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ww.grc360.net</a:t>
              </a:r>
            </a:p>
          </p:txBody>
        </p:sp>
      </p:grpSp>
    </p:spTree>
    <p:extLst>
      <p:ext uri="{BB962C8B-B14F-4D97-AF65-F5344CB8AC3E}">
        <p14:creationId xmlns:p14="http://schemas.microsoft.com/office/powerpoint/2010/main" val="3522448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AA72C9-278C-6C0D-A594-96AAC1B641E3}"/>
              </a:ext>
            </a:extLst>
          </p:cNvPr>
          <p:cNvSpPr>
            <a:spLocks noGrp="1"/>
          </p:cNvSpPr>
          <p:nvPr>
            <p:ph type="body" sz="quarter" idx="14"/>
          </p:nvPr>
        </p:nvSpPr>
        <p:spPr>
          <a:noFill/>
        </p:spPr>
        <p:txBody>
          <a:bodyPr>
            <a:normAutofit/>
          </a:bodyPr>
          <a:lstStyle/>
          <a:p>
            <a:r>
              <a:rPr lang="en-US" sz="3600"/>
              <a:t>OUR CORE VALUES </a:t>
            </a:r>
            <a:endParaRPr lang="en-GB" sz="3600"/>
          </a:p>
        </p:txBody>
      </p:sp>
      <p:sp>
        <p:nvSpPr>
          <p:cNvPr id="4" name="Text Placeholder 3">
            <a:extLst>
              <a:ext uri="{FF2B5EF4-FFF2-40B4-BE49-F238E27FC236}">
                <a16:creationId xmlns:a16="http://schemas.microsoft.com/office/drawing/2014/main" id="{E3F99712-EE19-B33E-000B-DFD32AEB2DC4}"/>
              </a:ext>
            </a:extLst>
          </p:cNvPr>
          <p:cNvSpPr>
            <a:spLocks noGrp="1"/>
          </p:cNvSpPr>
          <p:nvPr>
            <p:ph type="body" sz="quarter" idx="17"/>
          </p:nvPr>
        </p:nvSpPr>
        <p:spPr>
          <a:xfrm>
            <a:off x="7515404" y="2215896"/>
            <a:ext cx="3651357" cy="3375848"/>
          </a:xfrm>
        </p:spPr>
        <p:txBody>
          <a:bodyPr vert="horz" lIns="91440" tIns="45720" rIns="91440" bIns="45720" rtlCol="0" anchor="t">
            <a:normAutofit/>
          </a:bodyPr>
          <a:lstStyle/>
          <a:p>
            <a:pPr algn="ctr"/>
            <a:r>
              <a:rPr lang="en-US" sz="2000" b="1" dirty="0"/>
              <a:t>Our Mission</a:t>
            </a:r>
          </a:p>
          <a:p>
            <a:pPr algn="just"/>
            <a:r>
              <a:rPr lang="en-US" dirty="0"/>
              <a:t>We aim to achieve the highest quality in delivering our consultancy services to strengthen our Client’s governance, risk posture and information security resilience.</a:t>
            </a:r>
            <a:endParaRPr lang="en-US" dirty="0">
              <a:ea typeface="Calibri"/>
              <a:cs typeface="Calibri"/>
            </a:endParaRPr>
          </a:p>
          <a:p>
            <a:endParaRPr lang="en-GB" dirty="0"/>
          </a:p>
        </p:txBody>
      </p:sp>
      <p:sp>
        <p:nvSpPr>
          <p:cNvPr id="5" name="Text Placeholder 4">
            <a:extLst>
              <a:ext uri="{FF2B5EF4-FFF2-40B4-BE49-F238E27FC236}">
                <a16:creationId xmlns:a16="http://schemas.microsoft.com/office/drawing/2014/main" id="{7EE7EC5B-734F-2FA7-7E65-661A5DC30387}"/>
              </a:ext>
            </a:extLst>
          </p:cNvPr>
          <p:cNvSpPr>
            <a:spLocks noGrp="1"/>
          </p:cNvSpPr>
          <p:nvPr>
            <p:ph type="body" sz="quarter" idx="18"/>
          </p:nvPr>
        </p:nvSpPr>
        <p:spPr>
          <a:xfrm>
            <a:off x="724115" y="2125673"/>
            <a:ext cx="4346650" cy="3801394"/>
          </a:xfrm>
        </p:spPr>
        <p:txBody>
          <a:bodyPr>
            <a:normAutofit/>
          </a:bodyPr>
          <a:lstStyle/>
          <a:p>
            <a:pPr algn="ctr"/>
            <a:r>
              <a:rPr lang="en-US" sz="2200" b="1" dirty="0"/>
              <a:t>Our Vision</a:t>
            </a:r>
          </a:p>
          <a:p>
            <a:pPr marL="166688" indent="-166688" algn="just">
              <a:spcBef>
                <a:spcPts val="1800"/>
              </a:spcBef>
              <a:buFont typeface="Arial" panose="020B0604020202020204" pitchFamily="34" charset="0"/>
              <a:buChar char="•"/>
            </a:pPr>
            <a:r>
              <a:rPr lang="en-US" dirty="0"/>
              <a:t>Shaping the future of the information- and cyber-security ecosystem by countering challenges through innovation and experience. </a:t>
            </a:r>
          </a:p>
          <a:p>
            <a:pPr marL="166688" indent="-166688" algn="just">
              <a:buFont typeface="Arial" panose="020B0604020202020204" pitchFamily="34" charset="0"/>
              <a:buChar char="•"/>
            </a:pPr>
            <a:r>
              <a:rPr lang="en-US" dirty="0"/>
              <a:t>Assisting enterprises around the world by delivering outstanding quality services. </a:t>
            </a:r>
          </a:p>
          <a:p>
            <a:pPr marL="166688" indent="-166688" algn="just">
              <a:buFont typeface="Arial" panose="020B0604020202020204" pitchFamily="34" charset="0"/>
              <a:buChar char="•"/>
            </a:pPr>
            <a:r>
              <a:rPr lang="en-US" dirty="0"/>
              <a:t>Setting standards of excellence by instilling pride of ownership and commitment. </a:t>
            </a:r>
          </a:p>
          <a:p>
            <a:pPr marL="166688" indent="-166688" algn="just">
              <a:buFont typeface="Arial" panose="020B0604020202020204" pitchFamily="34" charset="0"/>
              <a:buChar char="•"/>
            </a:pPr>
            <a:r>
              <a:rPr lang="en-US" dirty="0"/>
              <a:t>Exceeding Client’s expectations through dedicated power of talented consultants.</a:t>
            </a:r>
          </a:p>
        </p:txBody>
      </p:sp>
      <p:sp>
        <p:nvSpPr>
          <p:cNvPr id="9" name="Freeform 12">
            <a:extLst>
              <a:ext uri="{FF2B5EF4-FFF2-40B4-BE49-F238E27FC236}">
                <a16:creationId xmlns:a16="http://schemas.microsoft.com/office/drawing/2014/main" id="{A342DFBE-BF70-9AC0-264E-3067020FB1E7}"/>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1" name="Freeform 11">
            <a:extLst>
              <a:ext uri="{FF2B5EF4-FFF2-40B4-BE49-F238E27FC236}">
                <a16:creationId xmlns:a16="http://schemas.microsoft.com/office/drawing/2014/main" id="{1A0D9935-EFEC-AF75-B2FE-F9396A0015C1}"/>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4">
            <a:extLst>
              <a:ext uri="{FF2B5EF4-FFF2-40B4-BE49-F238E27FC236}">
                <a16:creationId xmlns:a16="http://schemas.microsoft.com/office/drawing/2014/main" id="{3DD31B53-1ECF-0C30-63C0-1EC94428227E}"/>
              </a:ext>
            </a:extLst>
          </p:cNvPr>
          <p:cNvSpPr txBox="1">
            <a:spLocks/>
          </p:cNvSpPr>
          <p:nvPr/>
        </p:nvSpPr>
        <p:spPr>
          <a:xfrm>
            <a:off x="9203585" y="65563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A430BDA-5D68-46EF-B338-4033C63DE6D6}" type="slidenum">
              <a:rPr kumimoji="0" lang="en-GB"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8677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7B1C3-E882-E877-2801-473E8A9BDC00}"/>
              </a:ext>
            </a:extLst>
          </p:cNvPr>
          <p:cNvSpPr>
            <a:spLocks noGrp="1"/>
          </p:cNvSpPr>
          <p:nvPr>
            <p:ph type="title" idx="4294967295"/>
          </p:nvPr>
        </p:nvSpPr>
        <p:spPr>
          <a:xfrm>
            <a:off x="0" y="1588"/>
            <a:ext cx="12192000" cy="1619250"/>
          </a:xfrm>
          <a:solidFill>
            <a:schemeClr val="tx1"/>
          </a:solidFill>
        </p:spPr>
        <p:txBody>
          <a:bodyPr>
            <a:normAutofit/>
          </a:bodyPr>
          <a:lstStyle/>
          <a:p>
            <a:pPr indent="738188"/>
            <a:r>
              <a:rPr lang="en-US" sz="4000" b="1">
                <a:solidFill>
                  <a:schemeClr val="bg1"/>
                </a:solidFill>
                <a:latin typeface="Calibri" panose="020F0502020204030204" pitchFamily="34" charset="0"/>
                <a:cs typeface="Calibri" panose="020F0502020204030204" pitchFamily="34" charset="0"/>
              </a:rPr>
              <a:t>GLOBAL FOOTPRINT</a:t>
            </a:r>
            <a:endParaRPr lang="en-GB" sz="4000" b="1">
              <a:solidFill>
                <a:schemeClr val="bg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88E666F-D499-70C2-CF70-DA33E1C27A22}"/>
              </a:ext>
            </a:extLst>
          </p:cNvPr>
          <p:cNvSpPr txBox="1"/>
          <p:nvPr/>
        </p:nvSpPr>
        <p:spPr>
          <a:xfrm>
            <a:off x="4504645" y="6256064"/>
            <a:ext cx="3857625" cy="35208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688" b="1" i="1" u="none" strike="noStrike" kern="1200" cap="none" spc="0" normalizeH="0" baseline="0" noProof="0">
                <a:ln>
                  <a:noFill/>
                </a:ln>
                <a:solidFill>
                  <a:srgbClr val="2D2D2D"/>
                </a:solidFill>
                <a:effectLst/>
                <a:uLnTx/>
                <a:uFillTx/>
                <a:latin typeface="Calibri"/>
                <a:ea typeface="+mn-ea"/>
                <a:cs typeface="+mn-cs"/>
              </a:rPr>
              <a:t>We have your back around 4 continents</a:t>
            </a:r>
          </a:p>
        </p:txBody>
      </p:sp>
      <p:sp>
        <p:nvSpPr>
          <p:cNvPr id="5" name="Freeform 12">
            <a:extLst>
              <a:ext uri="{FF2B5EF4-FFF2-40B4-BE49-F238E27FC236}">
                <a16:creationId xmlns:a16="http://schemas.microsoft.com/office/drawing/2014/main" id="{16BD572C-E8DE-7979-FA6A-B61D37E913B2}"/>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3" name="Graphic 12" descr="Marker with solid fill">
            <a:extLst>
              <a:ext uri="{FF2B5EF4-FFF2-40B4-BE49-F238E27FC236}">
                <a16:creationId xmlns:a16="http://schemas.microsoft.com/office/drawing/2014/main" id="{8ACB298F-018B-9A4C-37F8-E90432D8D0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0343" y="5122625"/>
            <a:ext cx="598714" cy="598714"/>
          </a:xfrm>
          <a:prstGeom prst="rect">
            <a:avLst/>
          </a:prstGeom>
        </p:spPr>
      </p:pic>
      <p:grpSp>
        <p:nvGrpSpPr>
          <p:cNvPr id="17" name="Group 16">
            <a:extLst>
              <a:ext uri="{FF2B5EF4-FFF2-40B4-BE49-F238E27FC236}">
                <a16:creationId xmlns:a16="http://schemas.microsoft.com/office/drawing/2014/main" id="{B076778A-E831-EC7D-B7F5-CAAA4E1C6562}"/>
              </a:ext>
            </a:extLst>
          </p:cNvPr>
          <p:cNvGrpSpPr/>
          <p:nvPr/>
        </p:nvGrpSpPr>
        <p:grpSpPr>
          <a:xfrm>
            <a:off x="1843697" y="1727609"/>
            <a:ext cx="8221579" cy="4604657"/>
            <a:chOff x="2330689" y="1323716"/>
            <a:chExt cx="8221579" cy="4604657"/>
          </a:xfrm>
        </p:grpSpPr>
        <p:pic>
          <p:nvPicPr>
            <p:cNvPr id="11" name="Picture 10">
              <a:extLst>
                <a:ext uri="{FF2B5EF4-FFF2-40B4-BE49-F238E27FC236}">
                  <a16:creationId xmlns:a16="http://schemas.microsoft.com/office/drawing/2014/main" id="{DC474A17-6012-BC14-C7C6-463B7A9ED2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30689" y="1323716"/>
              <a:ext cx="8221579" cy="4604657"/>
            </a:xfrm>
            <a:prstGeom prst="rect">
              <a:avLst/>
            </a:prstGeom>
          </p:spPr>
        </p:pic>
        <p:sp>
          <p:nvSpPr>
            <p:cNvPr id="15" name="Callout: Line with No Border 14">
              <a:extLst>
                <a:ext uri="{FF2B5EF4-FFF2-40B4-BE49-F238E27FC236}">
                  <a16:creationId xmlns:a16="http://schemas.microsoft.com/office/drawing/2014/main" id="{D9444864-1EB4-EEE9-E50A-660D50A5761D}"/>
                </a:ext>
              </a:extLst>
            </p:cNvPr>
            <p:cNvSpPr/>
            <p:nvPr/>
          </p:nvSpPr>
          <p:spPr>
            <a:xfrm>
              <a:off x="5683053" y="1611616"/>
              <a:ext cx="1050472" cy="293913"/>
            </a:xfrm>
            <a:prstGeom prst="callout1">
              <a:avLst>
                <a:gd name="adj1" fmla="val 103935"/>
                <a:gd name="adj2" fmla="val 49699"/>
                <a:gd name="adj3" fmla="val 760649"/>
                <a:gd name="adj4" fmla="val 12850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79339"/>
                  </a:solidFill>
                  <a:effectLst/>
                  <a:uLnTx/>
                  <a:uFillTx/>
                  <a:latin typeface="Calibri"/>
                  <a:ea typeface="+mn-ea"/>
                  <a:cs typeface="+mn-cs"/>
                </a:rPr>
                <a:t>Bahrain</a:t>
              </a:r>
              <a:endParaRPr kumimoji="0" lang="en-GB" sz="1400" b="1" i="0" u="none" strike="noStrike" kern="1200" cap="none" spc="0" normalizeH="0" baseline="0" noProof="0">
                <a:ln>
                  <a:noFill/>
                </a:ln>
                <a:solidFill>
                  <a:srgbClr val="F79339"/>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1DC72BE8-B328-7D1A-08C3-D79E091C2343}"/>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112" b="88764" l="9722" r="88889"/>
                      </a14:imgEffect>
                    </a14:imgLayer>
                  </a14:imgProps>
                </a:ext>
                <a:ext uri="{28A0092B-C50C-407E-A947-70E740481C1C}">
                  <a14:useLocalDpi xmlns:a14="http://schemas.microsoft.com/office/drawing/2010/main" val="0"/>
                </a:ext>
              </a:extLst>
            </a:blip>
            <a:srcRect/>
            <a:stretch/>
          </p:blipFill>
          <p:spPr>
            <a:xfrm>
              <a:off x="6782946" y="3553641"/>
              <a:ext cx="544286" cy="668581"/>
            </a:xfrm>
            <a:prstGeom prst="rect">
              <a:avLst/>
            </a:prstGeom>
          </p:spPr>
        </p:pic>
      </p:grpSp>
    </p:spTree>
    <p:extLst>
      <p:ext uri="{BB962C8B-B14F-4D97-AF65-F5344CB8AC3E}">
        <p14:creationId xmlns:p14="http://schemas.microsoft.com/office/powerpoint/2010/main" val="227538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AutoShape 3"/>
          <p:cNvSpPr/>
          <p:nvPr/>
        </p:nvSpPr>
        <p:spPr>
          <a:xfrm>
            <a:off x="1098884" y="1065918"/>
            <a:ext cx="9994232" cy="5219400"/>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grpSp>
        <p:nvGrpSpPr>
          <p:cNvPr id="6" name="Group 6"/>
          <p:cNvGrpSpPr/>
          <p:nvPr/>
        </p:nvGrpSpPr>
        <p:grpSpPr>
          <a:xfrm>
            <a:off x="2129473" y="1207849"/>
            <a:ext cx="3852730" cy="933679"/>
            <a:chOff x="0" y="0"/>
            <a:chExt cx="3973973" cy="1054689"/>
          </a:xfrm>
        </p:grpSpPr>
        <p:sp>
          <p:nvSpPr>
            <p:cNvPr id="7" name="TextBox 7"/>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CI DSS COMPLIANCE</a:t>
              </a:r>
            </a:p>
          </p:txBody>
        </p:sp>
        <p:sp>
          <p:nvSpPr>
            <p:cNvPr id="8" name="TextBox 8"/>
            <p:cNvSpPr txBox="1"/>
            <p:nvPr/>
          </p:nvSpPr>
          <p:spPr>
            <a:xfrm>
              <a:off x="0" y="475246"/>
              <a:ext cx="3973973" cy="579443"/>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QSAs will ensure that your PCI compliance journey is easy and smooth.</a:t>
              </a:r>
            </a:p>
          </p:txBody>
        </p:sp>
      </p:grpSp>
      <p:grpSp>
        <p:nvGrpSpPr>
          <p:cNvPr id="12" name="Group 12"/>
          <p:cNvGrpSpPr/>
          <p:nvPr/>
        </p:nvGrpSpPr>
        <p:grpSpPr>
          <a:xfrm>
            <a:off x="7045005" y="3059790"/>
            <a:ext cx="3841344" cy="1169821"/>
            <a:chOff x="0" y="-22817"/>
            <a:chExt cx="4538642"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CURITY ASSESSMENTS</a:t>
              </a:r>
            </a:p>
          </p:txBody>
        </p:sp>
        <p:sp>
          <p:nvSpPr>
            <p:cNvPr id="14" name="TextBox 14"/>
            <p:cNvSpPr txBox="1"/>
            <p:nvPr/>
          </p:nvSpPr>
          <p:spPr>
            <a:xfrm>
              <a:off x="9643" y="546613"/>
              <a:ext cx="4528999"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consultants conduct database, network, infrastructure, and applications assessment.</a:t>
              </a:r>
            </a:p>
          </p:txBody>
        </p:sp>
      </p:grpSp>
      <p:grpSp>
        <p:nvGrpSpPr>
          <p:cNvPr id="24" name="Group 6"/>
          <p:cNvGrpSpPr/>
          <p:nvPr/>
        </p:nvGrpSpPr>
        <p:grpSpPr>
          <a:xfrm>
            <a:off x="7053167" y="1212701"/>
            <a:ext cx="3522893" cy="1557311"/>
            <a:chOff x="-22576" y="0"/>
            <a:chExt cx="4141956" cy="1762350"/>
          </a:xfrm>
        </p:grpSpPr>
        <p:sp>
          <p:nvSpPr>
            <p:cNvPr id="25" name="TextBox 7"/>
            <p:cNvSpPr txBox="1"/>
            <p:nvPr/>
          </p:nvSpPr>
          <p:spPr>
            <a:xfrm>
              <a:off x="0" y="0"/>
              <a:ext cx="3973973" cy="711546"/>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RSONAL DATA PRIVACY CONSULTANCY SERVICES</a:t>
              </a:r>
            </a:p>
          </p:txBody>
        </p:sp>
        <p:sp>
          <p:nvSpPr>
            <p:cNvPr id="26" name="TextBox 8"/>
            <p:cNvSpPr txBox="1"/>
            <p:nvPr/>
          </p:nvSpPr>
          <p:spPr>
            <a:xfrm>
              <a:off x="-22576" y="891603"/>
              <a:ext cx="4141956" cy="870747"/>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GRC360 provides Data Privacy services according to regional regulations such as PDLP, NDMO etc.</a:t>
              </a:r>
            </a:p>
          </p:txBody>
        </p:sp>
      </p:grpSp>
      <p:grpSp>
        <p:nvGrpSpPr>
          <p:cNvPr id="30" name="Group 6"/>
          <p:cNvGrpSpPr/>
          <p:nvPr/>
        </p:nvGrpSpPr>
        <p:grpSpPr>
          <a:xfrm>
            <a:off x="2129473" y="5193452"/>
            <a:ext cx="4283591" cy="893674"/>
            <a:chOff x="0" y="372132"/>
            <a:chExt cx="3973973" cy="1089400"/>
          </a:xfrm>
        </p:grpSpPr>
        <p:sp>
          <p:nvSpPr>
            <p:cNvPr id="31" name="TextBox 7"/>
            <p:cNvSpPr txBox="1"/>
            <p:nvPr/>
          </p:nvSpPr>
          <p:spPr>
            <a:xfrm>
              <a:off x="0" y="372132"/>
              <a:ext cx="3973973" cy="375652"/>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SO 27001 CONSULTANCY SERVICES</a:t>
              </a:r>
            </a:p>
          </p:txBody>
        </p:sp>
        <p:sp>
          <p:nvSpPr>
            <p:cNvPr id="32" name="TextBox 8"/>
            <p:cNvSpPr txBox="1"/>
            <p:nvPr/>
          </p:nvSpPr>
          <p:spPr>
            <a:xfrm>
              <a:off x="0" y="836226"/>
              <a:ext cx="3973973" cy="625306"/>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ssist and expedite on the complex journey of ISO 27001 complianc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12">
            <a:extLst>
              <a:ext uri="{FF2B5EF4-FFF2-40B4-BE49-F238E27FC236}">
                <a16:creationId xmlns:a16="http://schemas.microsoft.com/office/drawing/2014/main" id="{93D14ED2-2DAD-0FDD-9E4F-B777AC6EB660}"/>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4" name="Group 6">
            <a:extLst>
              <a:ext uri="{FF2B5EF4-FFF2-40B4-BE49-F238E27FC236}">
                <a16:creationId xmlns:a16="http://schemas.microsoft.com/office/drawing/2014/main" id="{88B8A8DA-9088-0152-8A2F-D2BDEB9F8EA5}"/>
              </a:ext>
            </a:extLst>
          </p:cNvPr>
          <p:cNvGrpSpPr/>
          <p:nvPr/>
        </p:nvGrpSpPr>
        <p:grpSpPr>
          <a:xfrm>
            <a:off x="2129473" y="2415533"/>
            <a:ext cx="3966527" cy="933681"/>
            <a:chOff x="0" y="0"/>
            <a:chExt cx="3973973" cy="1054691"/>
          </a:xfrm>
        </p:grpSpPr>
        <p:sp>
          <p:nvSpPr>
            <p:cNvPr id="18" name="TextBox 7">
              <a:extLst>
                <a:ext uri="{FF2B5EF4-FFF2-40B4-BE49-F238E27FC236}">
                  <a16:creationId xmlns:a16="http://schemas.microsoft.com/office/drawing/2014/main" id="{41798EA6-3A0E-BCF4-2B15-2DA3BBDF0FA2}"/>
                </a:ext>
              </a:extLst>
            </p:cNvPr>
            <p:cNvSpPr txBox="1"/>
            <p:nvPr/>
          </p:nvSpPr>
          <p:spPr>
            <a:xfrm>
              <a:off x="0" y="0"/>
              <a:ext cx="3973973" cy="348100"/>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RED TEAMING</a:t>
              </a:r>
            </a:p>
          </p:txBody>
        </p:sp>
        <p:sp>
          <p:nvSpPr>
            <p:cNvPr id="19" name="TextBox 8">
              <a:extLst>
                <a:ext uri="{FF2B5EF4-FFF2-40B4-BE49-F238E27FC236}">
                  <a16:creationId xmlns:a16="http://schemas.microsoft.com/office/drawing/2014/main" id="{39FC20F1-57D9-6698-A40A-4E13C7C3B8BA}"/>
                </a:ext>
              </a:extLst>
            </p:cNvPr>
            <p:cNvSpPr txBox="1"/>
            <p:nvPr/>
          </p:nvSpPr>
          <p:spPr>
            <a:xfrm>
              <a:off x="0" y="475247"/>
              <a:ext cx="3973973" cy="579444"/>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test your security implementations and SOC with realistic attack simulation.</a:t>
              </a:r>
            </a:p>
          </p:txBody>
        </p:sp>
      </p:grpSp>
      <p:grpSp>
        <p:nvGrpSpPr>
          <p:cNvPr id="27" name="Group 6">
            <a:extLst>
              <a:ext uri="{FF2B5EF4-FFF2-40B4-BE49-F238E27FC236}">
                <a16:creationId xmlns:a16="http://schemas.microsoft.com/office/drawing/2014/main" id="{5A047BCB-A0DD-8F41-A119-AA370B483F2D}"/>
              </a:ext>
            </a:extLst>
          </p:cNvPr>
          <p:cNvGrpSpPr/>
          <p:nvPr/>
        </p:nvGrpSpPr>
        <p:grpSpPr>
          <a:xfrm>
            <a:off x="2129473" y="3675618"/>
            <a:ext cx="4158106" cy="1188465"/>
            <a:chOff x="0" y="372132"/>
            <a:chExt cx="3991762" cy="1690264"/>
          </a:xfrm>
        </p:grpSpPr>
        <p:sp>
          <p:nvSpPr>
            <p:cNvPr id="28" name="TextBox 7">
              <a:extLst>
                <a:ext uri="{FF2B5EF4-FFF2-40B4-BE49-F238E27FC236}">
                  <a16:creationId xmlns:a16="http://schemas.microsoft.com/office/drawing/2014/main" id="{37E3D626-C55B-EA30-9B5D-5A4888BB0D37}"/>
                </a:ext>
              </a:extLst>
            </p:cNvPr>
            <p:cNvSpPr txBox="1"/>
            <p:nvPr/>
          </p:nvSpPr>
          <p:spPr>
            <a:xfrm>
              <a:off x="0" y="372132"/>
              <a:ext cx="3973973"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SENSITIVE DATA DISCOVERY</a:t>
              </a:r>
            </a:p>
          </p:txBody>
        </p:sp>
        <p:sp>
          <p:nvSpPr>
            <p:cNvPr id="29" name="TextBox 8">
              <a:extLst>
                <a:ext uri="{FF2B5EF4-FFF2-40B4-BE49-F238E27FC236}">
                  <a16:creationId xmlns:a16="http://schemas.microsoft.com/office/drawing/2014/main" id="{5C923374-38CB-C430-EC53-C8BFD5E050EC}"/>
                </a:ext>
              </a:extLst>
            </p:cNvPr>
            <p:cNvSpPr txBox="1"/>
            <p:nvPr/>
          </p:nvSpPr>
          <p:spPr>
            <a:xfrm>
              <a:off x="17789" y="968078"/>
              <a:ext cx="3973973"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5"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official partner of Ground Labs, purpose-designed sensitive data discovery solution for any data security initiative</a:t>
              </a:r>
              <a:endParaRPr kumimoji="0" lang="en-US" sz="1800" b="0" i="0" u="none" strike="noStrike" kern="1200" cap="none" spc="13" normalizeH="0" baseline="0" noProof="0">
                <a:ln>
                  <a:noFill/>
                </a:ln>
                <a:solidFill>
                  <a:srgbClr val="FF0000"/>
                </a:solidFill>
                <a:effectLst/>
                <a:uLnTx/>
                <a:uFillTx/>
                <a:latin typeface="Calibri" panose="020F0502020204030204" pitchFamily="34" charset="0"/>
                <a:ea typeface="+mn-ea"/>
                <a:cs typeface="Calibri" panose="020F0502020204030204" pitchFamily="34" charset="0"/>
              </a:endParaRPr>
            </a:p>
          </p:txBody>
        </p:sp>
      </p:grpSp>
      <p:grpSp>
        <p:nvGrpSpPr>
          <p:cNvPr id="33" name="Group 12">
            <a:extLst>
              <a:ext uri="{FF2B5EF4-FFF2-40B4-BE49-F238E27FC236}">
                <a16:creationId xmlns:a16="http://schemas.microsoft.com/office/drawing/2014/main" id="{11D550A5-C8F9-76FA-B23B-59407D9C5D29}"/>
              </a:ext>
            </a:extLst>
          </p:cNvPr>
          <p:cNvGrpSpPr/>
          <p:nvPr/>
        </p:nvGrpSpPr>
        <p:grpSpPr>
          <a:xfrm>
            <a:off x="7053166" y="4520432"/>
            <a:ext cx="3852730" cy="1682782"/>
            <a:chOff x="-23097" y="-22817"/>
            <a:chExt cx="4552095" cy="2393292"/>
          </a:xfrm>
        </p:grpSpPr>
        <p:sp>
          <p:nvSpPr>
            <p:cNvPr id="34" name="TextBox 13">
              <a:extLst>
                <a:ext uri="{FF2B5EF4-FFF2-40B4-BE49-F238E27FC236}">
                  <a16:creationId xmlns:a16="http://schemas.microsoft.com/office/drawing/2014/main" id="{E55531E7-1301-1DE1-9216-B291B1D1EC62}"/>
                </a:ext>
              </a:extLst>
            </p:cNvPr>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RAP ASSESSMENTS</a:t>
              </a:r>
            </a:p>
          </p:txBody>
        </p:sp>
        <p:sp>
          <p:nvSpPr>
            <p:cNvPr id="35" name="TextBox 14">
              <a:extLst>
                <a:ext uri="{FF2B5EF4-FFF2-40B4-BE49-F238E27FC236}">
                  <a16:creationId xmlns:a16="http://schemas.microsoft.com/office/drawing/2014/main" id="{445FCC2F-9DE4-C843-50FF-26E4C188EC6E}"/>
                </a:ext>
              </a:extLst>
            </p:cNvPr>
            <p:cNvSpPr txBox="1"/>
            <p:nvPr/>
          </p:nvSpPr>
          <p:spPr>
            <a:xfrm>
              <a:off x="-23097" y="546613"/>
              <a:ext cx="4528999" cy="1823862"/>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are certified under ACSC’s Infosec Registered Assessors Program (IRAP) for conducting security assessments and validating the effectiveness of security controls. </a:t>
              </a:r>
              <a:endParaRPr kumimoji="0" lang="en-GB" sz="1800" b="1" i="0" u="none" strike="noStrike" kern="1200" cap="none" spc="0" normalizeH="0" baseline="0" noProof="0">
                <a:ln>
                  <a:noFill/>
                </a:ln>
                <a:solidFill>
                  <a:srgbClr val="FFFFFF"/>
                </a:solidFill>
                <a:effectLst/>
                <a:uLnTx/>
                <a:uFillTx/>
                <a:latin typeface="mreavesxl"/>
                <a:ea typeface="+mn-ea"/>
                <a:cs typeface="+mn-cs"/>
              </a:endParaRPr>
            </a:p>
          </p:txBody>
        </p:sp>
      </p:grpSp>
    </p:spTree>
    <p:extLst>
      <p:ext uri="{BB962C8B-B14F-4D97-AF65-F5344CB8AC3E}">
        <p14:creationId xmlns:p14="http://schemas.microsoft.com/office/powerpoint/2010/main" val="314546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6" y="540598"/>
            <a:ext cx="8096768" cy="472052"/>
          </a:xfrm>
          <a:prstGeom prst="rect">
            <a:avLst/>
          </a:prstGeom>
        </p:spPr>
        <p:txBody>
          <a:bodyPr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INTERNATIONAL SERVICES</a:t>
            </a:r>
          </a:p>
        </p:txBody>
      </p:sp>
      <p:sp>
        <p:nvSpPr>
          <p:cNvPr id="3" name="AutoShape 3"/>
          <p:cNvSpPr/>
          <p:nvPr/>
        </p:nvSpPr>
        <p:spPr>
          <a:xfrm>
            <a:off x="1098884" y="1155597"/>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7072176" y="1455529"/>
            <a:ext cx="3852730" cy="1188465"/>
            <a:chOff x="0" y="-24650"/>
            <a:chExt cx="4511355" cy="1690264"/>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THREAT HUNTING</a:t>
              </a:r>
            </a:p>
          </p:txBody>
        </p:sp>
        <p:sp>
          <p:nvSpPr>
            <p:cNvPr id="11" name="TextBox 11"/>
            <p:cNvSpPr txBox="1"/>
            <p:nvPr/>
          </p:nvSpPr>
          <p:spPr>
            <a:xfrm>
              <a:off x="0" y="571296"/>
              <a:ext cx="4511355"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experts will look for adversaries present in your IT infrastructure.</a:t>
              </a:r>
            </a:p>
          </p:txBody>
        </p:sp>
      </p:grpSp>
      <p:grpSp>
        <p:nvGrpSpPr>
          <p:cNvPr id="12" name="Group 12"/>
          <p:cNvGrpSpPr/>
          <p:nvPr/>
        </p:nvGrpSpPr>
        <p:grpSpPr>
          <a:xfrm>
            <a:off x="2145939" y="4829762"/>
            <a:ext cx="3934237" cy="1169821"/>
            <a:chOff x="0" y="-22817"/>
            <a:chExt cx="4554015" cy="1663747"/>
          </a:xfrm>
        </p:grpSpPr>
        <p:sp>
          <p:nvSpPr>
            <p:cNvPr id="13" name="TextBox 13"/>
            <p:cNvSpPr txBox="1"/>
            <p:nvPr/>
          </p:nvSpPr>
          <p:spPr>
            <a:xfrm>
              <a:off x="0" y="-22817"/>
              <a:ext cx="4528998"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INFRASTRUCTURE SERVICES</a:t>
              </a:r>
            </a:p>
          </p:txBody>
        </p:sp>
        <p:sp>
          <p:nvSpPr>
            <p:cNvPr id="14" name="TextBox 14"/>
            <p:cNvSpPr txBox="1"/>
            <p:nvPr/>
          </p:nvSpPr>
          <p:spPr>
            <a:xfrm>
              <a:off x="25017" y="546613"/>
              <a:ext cx="4528998" cy="1094317"/>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services to implement and configure WAF, FIM, IDS, IPS, Firewalls, and DLPs in your infrastructure.</a:t>
              </a:r>
            </a:p>
          </p:txBody>
        </p:sp>
      </p:grpSp>
      <p:grpSp>
        <p:nvGrpSpPr>
          <p:cNvPr id="15" name="Group 15"/>
          <p:cNvGrpSpPr/>
          <p:nvPr/>
        </p:nvGrpSpPr>
        <p:grpSpPr>
          <a:xfrm>
            <a:off x="2163874" y="2896530"/>
            <a:ext cx="3852730" cy="1687904"/>
            <a:chOff x="0" y="0"/>
            <a:chExt cx="4821004" cy="2400578"/>
          </a:xfrm>
        </p:grpSpPr>
        <p:sp>
          <p:nvSpPr>
            <p:cNvPr id="16" name="TextBox 16"/>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DEVOPS</a:t>
              </a:r>
            </a:p>
          </p:txBody>
        </p:sp>
        <p:sp>
          <p:nvSpPr>
            <p:cNvPr id="17" name="TextBox 17"/>
            <p:cNvSpPr txBox="1"/>
            <p:nvPr/>
          </p:nvSpPr>
          <p:spPr>
            <a:xfrm>
              <a:off x="0" y="576715"/>
              <a:ext cx="4821004" cy="1823863"/>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Our DevOps team manages the relationship between operations and development to ensure that everything runs smoothly throughout the entire lifecycle of your application</a:t>
              </a:r>
              <a:r>
                <a:rPr kumimoji="0" lang="en-US" sz="16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163422" y="1451584"/>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PENETRATION TESTING</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24x7 VAPT Platform for continual VAPT services along with expert traditional VAPT services.</a:t>
              </a: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7072176" y="2856286"/>
            <a:ext cx="3852730" cy="1431424"/>
            <a:chOff x="0" y="0"/>
            <a:chExt cx="4821004" cy="2035806"/>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GRC360</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576715"/>
              <a:ext cx="4821004" cy="1459091"/>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provide gap assessments and compliance assistance for  international standards and frameworks like SAMA CSF, NCA ECC etc.</a:t>
              </a:r>
            </a:p>
          </p:txBody>
        </p:sp>
      </p:grpSp>
      <p:grpSp>
        <p:nvGrpSpPr>
          <p:cNvPr id="33" name="Group 6">
            <a:extLst>
              <a:ext uri="{FF2B5EF4-FFF2-40B4-BE49-F238E27FC236}">
                <a16:creationId xmlns:a16="http://schemas.microsoft.com/office/drawing/2014/main" id="{F95331F9-5256-C8C3-7E56-18467D4821E0}"/>
              </a:ext>
            </a:extLst>
          </p:cNvPr>
          <p:cNvGrpSpPr/>
          <p:nvPr/>
        </p:nvGrpSpPr>
        <p:grpSpPr>
          <a:xfrm>
            <a:off x="7072176" y="4829762"/>
            <a:ext cx="3522893" cy="1188465"/>
            <a:chOff x="0" y="0"/>
            <a:chExt cx="4141956" cy="1690264"/>
          </a:xfrm>
        </p:grpSpPr>
        <p:sp>
          <p:nvSpPr>
            <p:cNvPr id="34" name="TextBox 7">
              <a:extLst>
                <a:ext uri="{FF2B5EF4-FFF2-40B4-BE49-F238E27FC236}">
                  <a16:creationId xmlns:a16="http://schemas.microsoft.com/office/drawing/2014/main" id="{F9C7CFA1-3A44-FCA0-69E5-FB16171DD26F}"/>
                </a:ext>
              </a:extLst>
            </p:cNvPr>
            <p:cNvSpPr txBox="1"/>
            <p:nvPr/>
          </p:nvSpPr>
          <p:spPr>
            <a:xfrm>
              <a:off x="0" y="0"/>
              <a:ext cx="3973973"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YBERSECURITY TRAINING</a:t>
              </a:r>
            </a:p>
          </p:txBody>
        </p:sp>
        <p:sp>
          <p:nvSpPr>
            <p:cNvPr id="35" name="TextBox 8">
              <a:extLst>
                <a:ext uri="{FF2B5EF4-FFF2-40B4-BE49-F238E27FC236}">
                  <a16:creationId xmlns:a16="http://schemas.microsoft.com/office/drawing/2014/main" id="{47B2066E-F4CE-B5F9-7A78-EA9796136BAC}"/>
                </a:ext>
              </a:extLst>
            </p:cNvPr>
            <p:cNvSpPr txBox="1"/>
            <p:nvPr/>
          </p:nvSpPr>
          <p:spPr>
            <a:xfrm>
              <a:off x="0" y="595946"/>
              <a:ext cx="4141956" cy="1094318"/>
            </a:xfrm>
            <a:prstGeom prst="rect">
              <a:avLst/>
            </a:prstGeom>
          </p:spPr>
          <p:txBody>
            <a:bodyPr wrap="square" lIns="0" tIns="0" rIns="0" bIns="0" rtlCol="0" anchor="t">
              <a:spAutoFit/>
            </a:bodyPr>
            <a:lstStyle/>
            <a:p>
              <a:pPr marL="0" marR="0" lvl="0" indent="0" algn="just"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panose="020F0502020204030204" pitchFamily="34" charset="0"/>
                  <a:ea typeface="+mn-ea"/>
                  <a:cs typeface="Calibri" panose="020F0502020204030204" pitchFamily="34" charset="0"/>
                </a:rPr>
                <a:t>We deliver cyber security awareness and technical training for your professionals.</a:t>
              </a:r>
            </a:p>
          </p:txBody>
        </p:sp>
      </p:grpSp>
    </p:spTree>
    <p:extLst>
      <p:ext uri="{BB962C8B-B14F-4D97-AF65-F5344CB8AC3E}">
        <p14:creationId xmlns:p14="http://schemas.microsoft.com/office/powerpoint/2010/main" val="3592118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2"/>
          <p:cNvSpPr txBox="1"/>
          <p:nvPr/>
        </p:nvSpPr>
        <p:spPr>
          <a:xfrm>
            <a:off x="2047615" y="540598"/>
            <a:ext cx="8418557" cy="472052"/>
          </a:xfrm>
          <a:prstGeom prst="rect">
            <a:avLst/>
          </a:prstGeom>
        </p:spPr>
        <p:txBody>
          <a:bodyPr wrap="square" lIns="0" tIns="0" rIns="0" bIns="0" rtlCol="0" anchor="t">
            <a:spAutoFit/>
          </a:bodyPr>
          <a:lstStyle/>
          <a:p>
            <a:pPr marL="0" marR="0" lvl="0" indent="0" algn="ctr" defTabSz="857250" rtl="0" eaLnBrk="1" fontAlgn="auto" latinLnBrk="0" hangingPunct="1">
              <a:lnSpc>
                <a:spcPts val="3519"/>
              </a:lnSpc>
              <a:spcBef>
                <a:spcPts val="0"/>
              </a:spcBef>
              <a:spcAft>
                <a:spcPts val="0"/>
              </a:spcAft>
              <a:buClrTx/>
              <a:buSzTx/>
              <a:buFontTx/>
              <a:buNone/>
              <a:tabLst/>
              <a:defRPr/>
            </a:pPr>
            <a:r>
              <a:rPr kumimoji="0" lang="en-US" sz="3600" b="1" i="0" u="none" strike="noStrike" kern="1200" cap="none" spc="32" normalizeH="0" baseline="0" noProof="0">
                <a:ln>
                  <a:noFill/>
                </a:ln>
                <a:solidFill>
                  <a:prstClr val="white"/>
                </a:solidFill>
                <a:effectLst/>
                <a:uLnTx/>
                <a:uFillTx/>
                <a:latin typeface="+mj-lt"/>
                <a:ea typeface="+mn-ea"/>
                <a:cs typeface="Calibri" panose="020F0502020204030204" pitchFamily="34" charset="0"/>
              </a:rPr>
              <a:t>REGIONAL SERVICES (SAUDI ARABIA)</a:t>
            </a:r>
          </a:p>
        </p:txBody>
      </p:sp>
      <p:sp>
        <p:nvSpPr>
          <p:cNvPr id="3" name="AutoShape 3"/>
          <p:cNvSpPr/>
          <p:nvPr/>
        </p:nvSpPr>
        <p:spPr>
          <a:xfrm>
            <a:off x="1218619" y="1012650"/>
            <a:ext cx="9994232" cy="5161805"/>
          </a:xfrm>
          <a:prstGeom prst="rect">
            <a:avLst/>
          </a:prstGeom>
          <a:solidFill>
            <a:schemeClr val="tx1">
              <a:alpha val="40000"/>
            </a:schemeClr>
          </a:solidFill>
        </p:spPr>
        <p:txBody>
          <a:bodyPr/>
          <a:lstStyle/>
          <a:p>
            <a:pPr marL="0" marR="0" lvl="0" indent="0" algn="just" defTabSz="8572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9" name="Group 9"/>
          <p:cNvGrpSpPr/>
          <p:nvPr/>
        </p:nvGrpSpPr>
        <p:grpSpPr>
          <a:xfrm>
            <a:off x="6996042" y="1616440"/>
            <a:ext cx="3852730" cy="1444946"/>
            <a:chOff x="0" y="-24650"/>
            <a:chExt cx="4511355" cy="2055037"/>
          </a:xfrm>
        </p:grpSpPr>
        <p:sp>
          <p:nvSpPr>
            <p:cNvPr id="10" name="TextBox 10"/>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NCA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1" name="TextBox 11"/>
            <p:cNvSpPr txBox="1"/>
            <p:nvPr/>
          </p:nvSpPr>
          <p:spPr>
            <a:xfrm>
              <a:off x="0" y="571296"/>
              <a:ext cx="4511355" cy="1459091"/>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implementation guideline and can make you ready for ECC/CCC Assessment and Compliance.</a:t>
              </a:r>
            </a:p>
          </p:txBody>
        </p:sp>
      </p:grpSp>
      <p:sp>
        <p:nvSpPr>
          <p:cNvPr id="5" name="Freeform 11">
            <a:extLst>
              <a:ext uri="{FF2B5EF4-FFF2-40B4-BE49-F238E27FC236}">
                <a16:creationId xmlns:a16="http://schemas.microsoft.com/office/drawing/2014/main" id="{4C496779-379C-50CA-1A09-A62D3E2F9DB3}"/>
              </a:ext>
            </a:extLst>
          </p:cNvPr>
          <p:cNvSpPr/>
          <p:nvPr/>
        </p:nvSpPr>
        <p:spPr>
          <a:xfrm rot="10800000">
            <a:off x="11369820" y="6017291"/>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no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2">
            <a:extLst>
              <a:ext uri="{FF2B5EF4-FFF2-40B4-BE49-F238E27FC236}">
                <a16:creationId xmlns:a16="http://schemas.microsoft.com/office/drawing/2014/main" id="{B039100B-52AD-E828-22FC-35987E40894D}"/>
              </a:ext>
            </a:extLst>
          </p:cNvPr>
          <p:cNvSpPr/>
          <p:nvPr/>
        </p:nvSpPr>
        <p:spPr>
          <a:xfrm>
            <a:off x="360651" y="347119"/>
            <a:ext cx="477548" cy="477548"/>
          </a:xfrm>
          <a:custGeom>
            <a:avLst/>
            <a:gdLst>
              <a:gd name="connsiteX0" fmla="*/ 1514 w 477548"/>
              <a:gd name="connsiteY0" fmla="*/ 1514 h 477548"/>
              <a:gd name="connsiteX1" fmla="*/ 0 w 477548"/>
              <a:gd name="connsiteY1" fmla="*/ 0 h 477548"/>
              <a:gd name="connsiteX2" fmla="*/ 0 w 477548"/>
              <a:gd name="connsiteY2" fmla="*/ 477549 h 477548"/>
              <a:gd name="connsiteX3" fmla="*/ 97324 w 477548"/>
              <a:gd name="connsiteY3" fmla="*/ 380223 h 477548"/>
              <a:gd name="connsiteX4" fmla="*/ 97324 w 477548"/>
              <a:gd name="connsiteY4" fmla="*/ 98831 h 477548"/>
              <a:gd name="connsiteX5" fmla="*/ 380223 w 477548"/>
              <a:gd name="connsiteY5" fmla="*/ 98831 h 477548"/>
              <a:gd name="connsiteX6" fmla="*/ 477549 w 477548"/>
              <a:gd name="connsiteY6" fmla="*/ 1514 h 47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548" h="477548">
                <a:moveTo>
                  <a:pt x="1514" y="1514"/>
                </a:moveTo>
                <a:lnTo>
                  <a:pt x="0" y="0"/>
                </a:lnTo>
                <a:lnTo>
                  <a:pt x="0" y="477549"/>
                </a:lnTo>
                <a:lnTo>
                  <a:pt x="97324" y="380223"/>
                </a:lnTo>
                <a:lnTo>
                  <a:pt x="97324" y="98831"/>
                </a:lnTo>
                <a:lnTo>
                  <a:pt x="380223" y="98831"/>
                </a:lnTo>
                <a:lnTo>
                  <a:pt x="477549" y="1514"/>
                </a:lnTo>
                <a:close/>
              </a:path>
            </a:pathLst>
          </a:custGeom>
          <a:solidFill>
            <a:srgbClr val="CCB76A"/>
          </a:solidFill>
          <a:ln w="2071" cap="flat">
            <a:solidFill>
              <a:srgbClr val="CCB76A"/>
            </a:solidFill>
            <a:prstDash val="solid"/>
            <a:miter/>
          </a:ln>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21" name="Group 9">
            <a:extLst>
              <a:ext uri="{FF2B5EF4-FFF2-40B4-BE49-F238E27FC236}">
                <a16:creationId xmlns:a16="http://schemas.microsoft.com/office/drawing/2014/main" id="{C76EB693-72BD-C0D7-BB99-E2658B601AD2}"/>
              </a:ext>
            </a:extLst>
          </p:cNvPr>
          <p:cNvGrpSpPr/>
          <p:nvPr/>
        </p:nvGrpSpPr>
        <p:grpSpPr>
          <a:xfrm>
            <a:off x="2087288" y="1612495"/>
            <a:ext cx="4052313" cy="1188465"/>
            <a:chOff x="0" y="-24650"/>
            <a:chExt cx="4189425" cy="1690264"/>
          </a:xfrm>
        </p:grpSpPr>
        <p:sp>
          <p:nvSpPr>
            <p:cNvPr id="22" name="TextBox 10">
              <a:extLst>
                <a:ext uri="{FF2B5EF4-FFF2-40B4-BE49-F238E27FC236}">
                  <a16:creationId xmlns:a16="http://schemas.microsoft.com/office/drawing/2014/main" id="{7A0E6A98-94A5-44F5-5B45-500E278B044C}"/>
                </a:ext>
              </a:extLst>
            </p:cNvPr>
            <p:cNvSpPr txBox="1"/>
            <p:nvPr/>
          </p:nvSpPr>
          <p:spPr>
            <a:xfrm>
              <a:off x="0" y="-24650"/>
              <a:ext cx="4189425" cy="438274"/>
            </a:xfrm>
            <a:prstGeom prst="rect">
              <a:avLst/>
            </a:prstGeom>
          </p:spPr>
          <p:txBody>
            <a:bodyPr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SAMA CONSULTANCY</a:t>
              </a:r>
            </a:p>
          </p:txBody>
        </p:sp>
        <p:sp>
          <p:nvSpPr>
            <p:cNvPr id="23" name="TextBox 11">
              <a:extLst>
                <a:ext uri="{FF2B5EF4-FFF2-40B4-BE49-F238E27FC236}">
                  <a16:creationId xmlns:a16="http://schemas.microsoft.com/office/drawing/2014/main" id="{6C64F761-F2C8-F5DF-1255-C13051DE9ED6}"/>
                </a:ext>
              </a:extLst>
            </p:cNvPr>
            <p:cNvSpPr txBox="1"/>
            <p:nvPr/>
          </p:nvSpPr>
          <p:spPr>
            <a:xfrm>
              <a:off x="0" y="571296"/>
              <a:ext cx="4189425" cy="1094318"/>
            </a:xfrm>
            <a:prstGeom prst="rect">
              <a:avLst/>
            </a:prstGeom>
          </p:spPr>
          <p:txBody>
            <a:bodyPr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We assist and expedite on the complex journey of SAMA compliance (MVC, CRFR, </a:t>
              </a:r>
              <a:r>
                <a:rPr lang="en-US" spc="13">
                  <a:solidFill>
                    <a:srgbClr val="EDE6E2"/>
                  </a:solidFill>
                  <a:latin typeface="Calibri"/>
                  <a:cs typeface="Calibri"/>
                </a:rPr>
                <a:t>CSF</a:t>
              </a:r>
              <a:r>
                <a:rPr kumimoji="0" lang="en-US" sz="1800" b="0" i="0" u="none" strike="noStrike" kern="1200" cap="none" spc="13" normalizeH="0" baseline="0" noProof="0">
                  <a:ln>
                    <a:noFill/>
                  </a:ln>
                  <a:solidFill>
                    <a:srgbClr val="EDE6E2"/>
                  </a:solidFill>
                  <a:effectLst/>
                  <a:uLnTx/>
                  <a:uFillTx/>
                  <a:latin typeface="Calibri"/>
                  <a:ea typeface="+mn-ea"/>
                  <a:cs typeface="Calibri"/>
                </a:rPr>
                <a:t>).</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27" name="Group 15">
            <a:extLst>
              <a:ext uri="{FF2B5EF4-FFF2-40B4-BE49-F238E27FC236}">
                <a16:creationId xmlns:a16="http://schemas.microsoft.com/office/drawing/2014/main" id="{D39A776B-E923-DE1A-2AD5-BEA82DD991B3}"/>
              </a:ext>
            </a:extLst>
          </p:cNvPr>
          <p:cNvGrpSpPr/>
          <p:nvPr/>
        </p:nvGrpSpPr>
        <p:grpSpPr>
          <a:xfrm>
            <a:off x="2047616" y="3302395"/>
            <a:ext cx="3852730" cy="1204207"/>
            <a:chOff x="0" y="0"/>
            <a:chExt cx="4821004" cy="1712651"/>
          </a:xfrm>
        </p:grpSpPr>
        <p:sp>
          <p:nvSpPr>
            <p:cNvPr id="28" name="TextBox 16">
              <a:extLst>
                <a:ext uri="{FF2B5EF4-FFF2-40B4-BE49-F238E27FC236}">
                  <a16:creationId xmlns:a16="http://schemas.microsoft.com/office/drawing/2014/main" id="{2AB9232D-3332-9993-F666-840F4C6598A9}"/>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MA CONSULTANCY</a:t>
              </a:r>
            </a:p>
          </p:txBody>
        </p:sp>
        <p:sp>
          <p:nvSpPr>
            <p:cNvPr id="29" name="TextBox 17">
              <a:extLst>
                <a:ext uri="{FF2B5EF4-FFF2-40B4-BE49-F238E27FC236}">
                  <a16:creationId xmlns:a16="http://schemas.microsoft.com/office/drawing/2014/main" id="{0E06594F-54E5-0307-EE80-2B66581771FB}"/>
                </a:ext>
              </a:extLst>
            </p:cNvPr>
            <p:cNvSpPr txBox="1"/>
            <p:nvPr/>
          </p:nvSpPr>
          <p:spPr>
            <a:xfrm>
              <a:off x="0" y="618334"/>
              <a:ext cx="4821004" cy="1094317"/>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Guidelines for Capital Market Institutions.</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grpSp>
        <p:nvGrpSpPr>
          <p:cNvPr id="7" name="Group 15">
            <a:extLst>
              <a:ext uri="{FF2B5EF4-FFF2-40B4-BE49-F238E27FC236}">
                <a16:creationId xmlns:a16="http://schemas.microsoft.com/office/drawing/2014/main" id="{F92A0EF8-2AFD-AC68-968B-ED4313BD92D8}"/>
              </a:ext>
            </a:extLst>
          </p:cNvPr>
          <p:cNvGrpSpPr/>
          <p:nvPr/>
        </p:nvGrpSpPr>
        <p:grpSpPr>
          <a:xfrm>
            <a:off x="6996042" y="3302395"/>
            <a:ext cx="4216809" cy="1236499"/>
            <a:chOff x="0" y="0"/>
            <a:chExt cx="5276584" cy="1758579"/>
          </a:xfrm>
        </p:grpSpPr>
        <p:sp>
          <p:nvSpPr>
            <p:cNvPr id="8" name="TextBox 16">
              <a:extLst>
                <a:ext uri="{FF2B5EF4-FFF2-40B4-BE49-F238E27FC236}">
                  <a16:creationId xmlns:a16="http://schemas.microsoft.com/office/drawing/2014/main" id="{E97FFCD4-7911-0607-6CF4-93F9F1330B0F}"/>
                </a:ext>
              </a:extLst>
            </p:cNvPr>
            <p:cNvSpPr txBox="1"/>
            <p:nvPr/>
          </p:nvSpPr>
          <p:spPr>
            <a:xfrm>
              <a:off x="0" y="0"/>
              <a:ext cx="5276584" cy="438274"/>
            </a:xfrm>
            <a:prstGeom prst="rect">
              <a:avLst/>
            </a:prstGeom>
          </p:spPr>
          <p:txBody>
            <a:bodyPr wrap="square" lIns="0" tIns="0" rIns="0" bIns="0" rtlCol="0" anchor="t">
              <a:spAutoFit/>
            </a:bodyPr>
            <a:lstStyle/>
            <a:p>
              <a:pPr marL="0" marR="0" lvl="0" indent="0" algn="just"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a:ea typeface="+mn-ea"/>
                  <a:cs typeface="Calibri"/>
                </a:rPr>
                <a:t>DATA PRIVACY CONSULTANCY</a:t>
              </a:r>
              <a:endPar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endParaRPr>
            </a:p>
          </p:txBody>
        </p:sp>
        <p:sp>
          <p:nvSpPr>
            <p:cNvPr id="12" name="TextBox 17">
              <a:extLst>
                <a:ext uri="{FF2B5EF4-FFF2-40B4-BE49-F238E27FC236}">
                  <a16:creationId xmlns:a16="http://schemas.microsoft.com/office/drawing/2014/main" id="{560CCC2C-1096-48A7-A64C-8EF530A245B5}"/>
                </a:ext>
              </a:extLst>
            </p:cNvPr>
            <p:cNvSpPr txBox="1"/>
            <p:nvPr/>
          </p:nvSpPr>
          <p:spPr>
            <a:xfrm>
              <a:off x="0" y="576715"/>
              <a:ext cx="5165325" cy="1181864"/>
            </a:xfrm>
            <a:prstGeom prst="rect">
              <a:avLst/>
            </a:prstGeom>
          </p:spPr>
          <p:txBody>
            <a:bodyPr wrap="square" lIns="0" tIns="0" rIns="0" bIns="0" rtlCol="0" anchor="t">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provides Data Privacy services according to regional regulations i.e., PDPL, NDMO</a:t>
              </a:r>
              <a:r>
                <a:rPr kumimoji="0" lang="en-US" sz="1600" b="0" i="0" u="none" strike="noStrike" kern="1200" cap="none" spc="13" normalizeH="0" baseline="0" noProof="0">
                  <a:ln>
                    <a:noFill/>
                  </a:ln>
                  <a:solidFill>
                    <a:srgbClr val="EDE6E2"/>
                  </a:solidFill>
                  <a:effectLst/>
                  <a:uLnTx/>
                  <a:uFillTx/>
                  <a:latin typeface="Calibri"/>
                  <a:ea typeface="+mn-ea"/>
                  <a:cs typeface="Calibri"/>
                </a:rPr>
                <a:t>. </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 name="Group 15">
            <a:extLst>
              <a:ext uri="{FF2B5EF4-FFF2-40B4-BE49-F238E27FC236}">
                <a16:creationId xmlns:a16="http://schemas.microsoft.com/office/drawing/2014/main" id="{8209A756-F439-224B-BB10-BF0DBB851D4C}"/>
              </a:ext>
            </a:extLst>
          </p:cNvPr>
          <p:cNvGrpSpPr/>
          <p:nvPr/>
        </p:nvGrpSpPr>
        <p:grpSpPr>
          <a:xfrm>
            <a:off x="2047616" y="4865030"/>
            <a:ext cx="9076322" cy="947727"/>
            <a:chOff x="0" y="0"/>
            <a:chExt cx="6491379" cy="1347879"/>
          </a:xfrm>
        </p:grpSpPr>
        <p:sp>
          <p:nvSpPr>
            <p:cNvPr id="6" name="TextBox 16">
              <a:extLst>
                <a:ext uri="{FF2B5EF4-FFF2-40B4-BE49-F238E27FC236}">
                  <a16:creationId xmlns:a16="http://schemas.microsoft.com/office/drawing/2014/main" id="{0812E8A6-F6F7-02AD-1289-51E86A4D7E1D}"/>
                </a:ext>
              </a:extLst>
            </p:cNvPr>
            <p:cNvSpPr txBox="1"/>
            <p:nvPr/>
          </p:nvSpPr>
          <p:spPr>
            <a:xfrm>
              <a:off x="0" y="0"/>
              <a:ext cx="3793351" cy="438274"/>
            </a:xfrm>
            <a:prstGeom prst="rect">
              <a:avLst/>
            </a:prstGeom>
          </p:spPr>
          <p:txBody>
            <a:bodyPr lIns="0" tIns="0" rIns="0" bIns="0" rtlCol="0" anchor="t">
              <a:spAutoFit/>
            </a:bodyPr>
            <a:lstStyle/>
            <a:p>
              <a:pPr marL="0" marR="0" lvl="0" indent="0" algn="l" defTabSz="857250" rtl="0" eaLnBrk="1" fontAlgn="auto" latinLnBrk="0" hangingPunct="1">
                <a:lnSpc>
                  <a:spcPts val="2520"/>
                </a:lnSpc>
                <a:spcBef>
                  <a:spcPts val="0"/>
                </a:spcBef>
                <a:spcAft>
                  <a:spcPts val="0"/>
                </a:spcAft>
                <a:buClrTx/>
                <a:buSzTx/>
                <a:buFontTx/>
                <a:buNone/>
                <a:tabLst/>
                <a:defRPr/>
              </a:pPr>
              <a:r>
                <a:rPr kumimoji="0" lang="en-US" sz="2000" b="1" i="0" u="none" strike="noStrike" kern="1200" cap="none" spc="0" normalizeH="0" baseline="0" noProof="0">
                  <a:ln>
                    <a:noFill/>
                  </a:ln>
                  <a:solidFill>
                    <a:srgbClr val="CCB76A"/>
                  </a:solidFill>
                  <a:effectLst/>
                  <a:uLnTx/>
                  <a:uFillTx/>
                  <a:latin typeface="Calibri" panose="020F0502020204030204" pitchFamily="34" charset="0"/>
                  <a:ea typeface="+mn-ea"/>
                  <a:cs typeface="Calibri" panose="020F0502020204030204" pitchFamily="34" charset="0"/>
                </a:rPr>
                <a:t>CITC (CRF) CONSULTANCY</a:t>
              </a:r>
            </a:p>
          </p:txBody>
        </p:sp>
        <p:sp>
          <p:nvSpPr>
            <p:cNvPr id="13" name="TextBox 17">
              <a:extLst>
                <a:ext uri="{FF2B5EF4-FFF2-40B4-BE49-F238E27FC236}">
                  <a16:creationId xmlns:a16="http://schemas.microsoft.com/office/drawing/2014/main" id="{83FA4977-226C-F8DC-314D-42DAB5466BFF}"/>
                </a:ext>
              </a:extLst>
            </p:cNvPr>
            <p:cNvSpPr txBox="1"/>
            <p:nvPr/>
          </p:nvSpPr>
          <p:spPr>
            <a:xfrm>
              <a:off x="0" y="618334"/>
              <a:ext cx="6491379" cy="729545"/>
            </a:xfrm>
            <a:prstGeom prst="rect">
              <a:avLst/>
            </a:prstGeom>
          </p:spPr>
          <p:txBody>
            <a:bodyPr wrap="square" lIns="0" tIns="0" rIns="0" bIns="0" rtlCol="0" anchor="t">
              <a:spAutoFit/>
            </a:bodyPr>
            <a:lstStyle/>
            <a:p>
              <a:pPr marL="0" marR="0" lvl="0" indent="0" algn="l" defTabSz="857250" rtl="0" eaLnBrk="1" fontAlgn="auto" latinLnBrk="0" hangingPunct="1">
                <a:lnSpc>
                  <a:spcPts val="1969"/>
                </a:lnSpc>
                <a:spcBef>
                  <a:spcPts val="0"/>
                </a:spcBef>
                <a:spcAft>
                  <a:spcPts val="0"/>
                </a:spcAft>
                <a:buClrTx/>
                <a:buSzTx/>
                <a:buFontTx/>
                <a:buNone/>
                <a:tabLst/>
                <a:defRPr/>
              </a:pPr>
              <a:r>
                <a:rPr kumimoji="0" lang="en-US" sz="1800" b="0" i="0" u="none" strike="noStrike" kern="1200" cap="none" spc="13" normalizeH="0" baseline="0" noProof="0">
                  <a:ln>
                    <a:noFill/>
                  </a:ln>
                  <a:solidFill>
                    <a:srgbClr val="EDE6E2"/>
                  </a:solidFill>
                  <a:effectLst/>
                  <a:uLnTx/>
                  <a:uFillTx/>
                  <a:latin typeface="Calibri"/>
                  <a:ea typeface="+mn-ea"/>
                  <a:cs typeface="Calibri"/>
                </a:rPr>
                <a:t>GRC360 can provide you consultancy to Implement Cybersecurity Regulatory Framework (CRF) by CITC (Communications and Information Technology Commission).</a:t>
              </a:r>
              <a:endParaRPr kumimoji="0" lang="en-US" sz="1800" b="0" i="0" u="none" strike="noStrike" kern="1200" cap="none" spc="0" normalizeH="0" baseline="0" noProof="0">
                <a:ln>
                  <a:noFill/>
                </a:ln>
                <a:solidFill>
                  <a:srgbClr val="000000"/>
                </a:solidFill>
                <a:effectLst/>
                <a:uLnTx/>
                <a:uFillTx/>
                <a:latin typeface="Calibri"/>
                <a:ea typeface="+mn-ea"/>
                <a:cs typeface="Calibri"/>
              </a:endParaRPr>
            </a:p>
          </p:txBody>
        </p:sp>
      </p:grpSp>
    </p:spTree>
    <p:extLst>
      <p:ext uri="{BB962C8B-B14F-4D97-AF65-F5344CB8AC3E}">
        <p14:creationId xmlns:p14="http://schemas.microsoft.com/office/powerpoint/2010/main" val="383103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heme/theme1.xml><?xml version="1.0" encoding="utf-8"?>
<a:theme xmlns:a="http://schemas.openxmlformats.org/drawingml/2006/main" name="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2.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ppt/theme/themeOverride3.xml><?xml version="1.0" encoding="utf-8"?>
<a:themeOverride xmlns:a="http://schemas.openxmlformats.org/drawingml/2006/main">
  <a:clrScheme name="Custom 4">
    <a:dk1>
      <a:srgbClr val="000000"/>
    </a:dk1>
    <a:lt1>
      <a:sysClr val="window" lastClr="FFFFFF"/>
    </a:lt1>
    <a:dk2>
      <a:srgbClr val="637052"/>
    </a:dk2>
    <a:lt2>
      <a:srgbClr val="CCDDEA"/>
    </a:lt2>
    <a:accent1>
      <a:srgbClr val="000000"/>
    </a:accent1>
    <a:accent2>
      <a:srgbClr val="002060"/>
    </a:accent2>
    <a:accent3>
      <a:srgbClr val="CCB76A"/>
    </a:accent3>
    <a:accent4>
      <a:srgbClr val="9B8357"/>
    </a:accent4>
    <a:accent5>
      <a:srgbClr val="C2BC80"/>
    </a:accent5>
    <a:accent6>
      <a:srgbClr val="94A088"/>
    </a:accent6>
    <a:hlink>
      <a:srgbClr val="2998E3"/>
    </a:hlink>
    <a:folHlink>
      <a:srgbClr val="8C8C8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5CBC49640BC94B92E947587B7DD879" ma:contentTypeVersion="8" ma:contentTypeDescription="Create a new document." ma:contentTypeScope="" ma:versionID="7a97839a2e98a64a09aefcfcf4927542">
  <xsd:schema xmlns:xsd="http://www.w3.org/2001/XMLSchema" xmlns:xs="http://www.w3.org/2001/XMLSchema" xmlns:p="http://schemas.microsoft.com/office/2006/metadata/properties" xmlns:ns2="83228a46-e567-4a08-9d57-ffbc699c984e" targetNamespace="http://schemas.microsoft.com/office/2006/metadata/properties" ma:root="true" ma:fieldsID="fa0ec9eb379c37a5baeeed2dc6c23169" ns2:_="">
    <xsd:import namespace="83228a46-e567-4a08-9d57-ffbc699c984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228a46-e567-4a08-9d57-ffbc699c98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3E2485-4C74-4F0B-89B3-1A2E86845D2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95C9689-970A-4C06-94B4-74BEBF5FC64B}">
  <ds:schemaRefs>
    <ds:schemaRef ds:uri="http://schemas.microsoft.com/sharepoint/v3/contenttype/forms"/>
  </ds:schemaRefs>
</ds:datastoreItem>
</file>

<file path=customXml/itemProps3.xml><?xml version="1.0" encoding="utf-8"?>
<ds:datastoreItem xmlns:ds="http://schemas.openxmlformats.org/officeDocument/2006/customXml" ds:itemID="{0EDD6186-A4D6-4081-9C9E-C854EEC0BC2E}">
  <ds:schemaRefs>
    <ds:schemaRef ds:uri="83228a46-e567-4a08-9d57-ffbc699c98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3084</Words>
  <Application>Microsoft Office PowerPoint</Application>
  <PresentationFormat>Widescreen</PresentationFormat>
  <Paragraphs>412</Paragraphs>
  <Slides>49</Slides>
  <Notes>2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49</vt:i4>
      </vt:variant>
    </vt:vector>
  </HeadingPairs>
  <TitlesOfParts>
    <vt:vector size="58" baseType="lpstr">
      <vt:lpstr>Aptos</vt:lpstr>
      <vt:lpstr>Arial</vt:lpstr>
      <vt:lpstr>Calibri</vt:lpstr>
      <vt:lpstr>mreavesxl</vt:lpstr>
      <vt:lpstr>Open Sans</vt:lpstr>
      <vt:lpstr>Times</vt:lpstr>
      <vt:lpstr>Office Theme</vt:lpstr>
      <vt:lpstr>2_Office Theme</vt:lpstr>
      <vt:lpstr>1_Office Theme</vt:lpstr>
      <vt:lpstr>PowerPoint Presentation</vt:lpstr>
      <vt:lpstr>TABLE OF CONTENTS</vt:lpstr>
      <vt:lpstr>PowerPoint Presentation</vt:lpstr>
      <vt:lpstr>PowerPoint Presentation</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OMPETITIVE ADVANT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ia Ijaz</dc:creator>
  <cp:lastModifiedBy>Abdul Rafay</cp:lastModifiedBy>
  <cp:revision>46</cp:revision>
  <dcterms:created xsi:type="dcterms:W3CDTF">2022-09-12T10:39:45Z</dcterms:created>
  <dcterms:modified xsi:type="dcterms:W3CDTF">2025-02-10T06: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5CBC49640BC94B92E947587B7DD879</vt:lpwstr>
  </property>
</Properties>
</file>